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tif" ContentType="image/tiff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4"/>
  </p:sldMasterIdLst>
  <p:notesMasterIdLst>
    <p:notesMasterId r:id="rId20"/>
  </p:notesMasterIdLst>
  <p:handoutMasterIdLst>
    <p:handoutMasterId r:id="rId21"/>
  </p:handoutMasterIdLst>
  <p:sldIdLst>
    <p:sldId id="537" r:id="rId5"/>
    <p:sldId id="593" r:id="rId6"/>
    <p:sldId id="594" r:id="rId7"/>
    <p:sldId id="595" r:id="rId8"/>
    <p:sldId id="577" r:id="rId9"/>
    <p:sldId id="580" r:id="rId10"/>
    <p:sldId id="579" r:id="rId11"/>
    <p:sldId id="585" r:id="rId12"/>
    <p:sldId id="586" r:id="rId13"/>
    <p:sldId id="598" r:id="rId14"/>
    <p:sldId id="597" r:id="rId15"/>
    <p:sldId id="596" r:id="rId16"/>
    <p:sldId id="570" r:id="rId17"/>
    <p:sldId id="272" r:id="rId18"/>
    <p:sldId id="599" r:id="rId19"/>
  </p:sldIdLst>
  <p:sldSz cx="12192000" cy="6858000"/>
  <p:notesSz cx="6858000" cy="9144000"/>
  <p:custDataLst>
    <p:tags r:id="rId22"/>
  </p:custDataLst>
  <p:defaultTextStyle>
    <a:defPPr>
      <a:defRPr sz="1800" kern="1200">
        <a:solidFill>
          <a:schemeClr val="tx1"/>
        </a:solidFill>
        <a:latin typeface="+mn-lt"/>
        <a:ea typeface="+mn-ea"/>
        <a:cs typeface="+mn-cs"/>
      </a:defRPr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06A76"/>
    <a:srgbClr val="929EAB"/>
    <a:srgbClr val="E3F1FC"/>
    <a:srgbClr val="C6E0F7"/>
    <a:srgbClr val="D0D0D0"/>
    <a:srgbClr val="8A8A8A"/>
    <a:srgbClr val="BAB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1FEA7C-F08F-435A-8674-F53315B3F746}" v="5" dt="2026-04-20T14:18:05.00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108" d="100"/>
          <a:sy n="108" d="100"/>
        </p:scale>
        <p:origin x="516" y="12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066" y="108"/>
      </p:cViewPr>
      <p:guideLst/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8D5286F-F46C-4E2C-97AF-6B45DE4CB2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066E692-6480-48CC-8BCD-A7DF5C1F69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EB490-C5F1-4FE5-B523-7E2A854CD119}" type="datetimeFigureOut">
              <a:rPr lang="de-DE" smtClean="0"/>
              <a:t>20.04.2026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58393A-9752-4A74-9877-37793712D6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2DF026-F42B-4782-9457-5E48B4742A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F6C2D2-50ED-4FF1-94DB-86311ACB8CA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27807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ECEF2B-B444-4E6C-B710-FDFA372E266A}" type="datetimeFigureOut">
              <a:rPr lang="de-DE" smtClean="0"/>
              <a:t>20.04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B7BD1D-57F2-4AA2-9428-BF308BAFC72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586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| Exter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292093E-44AE-4A88-A4CB-D23B1DD324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8319" y="642855"/>
            <a:ext cx="7228674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294FA502-C1DC-4873-B743-6261A6D4B7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7228674" cy="369332"/>
          </a:xfrm>
        </p:spPr>
        <p:txBody>
          <a:bodyPr/>
          <a:lstStyle/>
          <a:p>
            <a:r>
              <a:rPr lang="en-US" noProof="0" dirty="0"/>
              <a:t>Edit Master Cover Format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2196AA1-313D-4990-8CC0-383A233A263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2351880"/>
            <a:ext cx="12192000" cy="4506119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cxnSp>
        <p:nvCxnSpPr>
          <p:cNvPr id="13" name="Gerade Verbindung 22">
            <a:extLst>
              <a:ext uri="{FF2B5EF4-FFF2-40B4-BE49-F238E27FC236}">
                <a16:creationId xmlns:a16="http://schemas.microsoft.com/office/drawing/2014/main" id="{1E2BE177-B8AE-4CA3-8B0C-241AD815C55F}"/>
              </a:ext>
            </a:extLst>
          </p:cNvPr>
          <p:cNvCxnSpPr>
            <a:cxnSpLocks/>
          </p:cNvCxnSpPr>
          <p:nvPr/>
        </p:nvCxnSpPr>
        <p:spPr>
          <a:xfrm>
            <a:off x="8512714" y="0"/>
            <a:ext cx="0" cy="130810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5">
            <a:extLst>
              <a:ext uri="{FF2B5EF4-FFF2-40B4-BE49-F238E27FC236}">
                <a16:creationId xmlns:a16="http://schemas.microsoft.com/office/drawing/2014/main" id="{9A76B5C1-E9F7-44AB-B776-CC664C7A0794}"/>
              </a:ext>
            </a:extLst>
          </p:cNvPr>
          <p:cNvCxnSpPr>
            <a:cxnSpLocks/>
          </p:cNvCxnSpPr>
          <p:nvPr/>
        </p:nvCxnSpPr>
        <p:spPr>
          <a:xfrm>
            <a:off x="8512714" y="1632585"/>
            <a:ext cx="0" cy="432088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7DAACFA-7C59-48D1-9F81-779220D25C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11763" y="642855"/>
            <a:ext cx="1524435" cy="5539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8A8A8A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utho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B41D90C-6B47-423A-B199-5AEB724B999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711762" y="1756296"/>
            <a:ext cx="1166986" cy="184666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defRPr lang="en-US" sz="1200" smtClean="0">
                <a:solidFill>
                  <a:srgbClr val="8A8A8A"/>
                </a:solidFill>
                <a:cs typeface="+mn-cs"/>
              </a:defRPr>
            </a:lvl1pPr>
          </a:lstStyle>
          <a:p>
            <a:pPr>
              <a:buFont typeface="Arial" panose="020B0604020202020204" pitchFamily="34" charset="0"/>
              <a:buNone/>
            </a:pPr>
            <a:fld id="{DA752F2E-4511-45B5-A60D-6AECCA6C2661}" type="datetime3">
              <a:rPr lang="en-US" noProof="0" smtClean="0"/>
              <a:t>20 April 2026</a:t>
            </a:fld>
            <a:endParaRPr lang="en-US" noProof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7DAED84-C423-5816-3450-DF57E2AEA686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6EE518F4-B04A-0051-800B-937E74CB0855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21" name="Gerader Verbinder 20">
                <a:extLst>
                  <a:ext uri="{FF2B5EF4-FFF2-40B4-BE49-F238E27FC236}">
                    <a16:creationId xmlns:a16="http://schemas.microsoft.com/office/drawing/2014/main" id="{1B518072-A10D-1F71-D0E1-91E5AF64AD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2981E24D-65A0-D83F-58FE-A1AA4A2A6D96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090E5B61-C900-3272-3D6C-42478725D325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19" name="Gerader Verbinder 18">
                <a:extLst>
                  <a:ext uri="{FF2B5EF4-FFF2-40B4-BE49-F238E27FC236}">
                    <a16:creationId xmlns:a16="http://schemas.microsoft.com/office/drawing/2014/main" id="{FE11BE0F-2B65-EC22-7B0B-FE84ABDF8E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77B4CD09-1FF4-E56F-62C6-10981BFDF452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86099128-E21B-EDEF-F0C2-783DAB3289A1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17" name="Gerader Verbinder 16">
                <a:extLst>
                  <a:ext uri="{FF2B5EF4-FFF2-40B4-BE49-F238E27FC236}">
                    <a16:creationId xmlns:a16="http://schemas.microsoft.com/office/drawing/2014/main" id="{71F7F663-884E-79B2-522F-E3C38A1AFA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6BC89292-7E44-7643-04FB-A2AB86B199EA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49F97C5E-8D91-8998-55DF-3D70B9680CBA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5E8A06CD-7BBE-365B-DBA7-BF13573AF568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11" name="Gerader Verbinder 10">
                <a:extLst>
                  <a:ext uri="{FF2B5EF4-FFF2-40B4-BE49-F238E27FC236}">
                    <a16:creationId xmlns:a16="http://schemas.microsoft.com/office/drawing/2014/main" id="{CB10219D-FCEE-E2C8-EE53-A1E0D55FFE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14736173-4C83-8A7A-88F5-D59FBCC0F991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AA325709-1A09-5127-5EAC-6A222BE55405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96AE9DC1-362D-F301-A2E6-223D1808FBC3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40" name="Textfeld 39">
                <a:extLst>
                  <a:ext uri="{FF2B5EF4-FFF2-40B4-BE49-F238E27FC236}">
                    <a16:creationId xmlns:a16="http://schemas.microsoft.com/office/drawing/2014/main" id="{9079CF85-9E96-B54F-04C4-798F35B0C0EF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92</a:t>
                </a:r>
              </a:p>
            </p:txBody>
          </p:sp>
          <p:cxnSp>
            <p:nvCxnSpPr>
              <p:cNvPr id="41" name="Gerader Verbinder 40">
                <a:extLst>
                  <a:ext uri="{FF2B5EF4-FFF2-40B4-BE49-F238E27FC236}">
                    <a16:creationId xmlns:a16="http://schemas.microsoft.com/office/drawing/2014/main" id="{CF1B461D-113D-00D0-DD99-32AFEFC37C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978DACFA-5E86-E9EB-E82E-A20B3AAEF6B2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4921A999-40A5-9F1D-4BE2-A364C53AAD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50EE7C74-4247-F4FC-60A9-87B854C7231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.40</a:t>
                </a:r>
              </a:p>
            </p:txBody>
          </p:sp>
        </p:grp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6C8AFA3-2266-73BC-1CE0-90C21747BAB1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81CAF0D-6718-434E-F65E-7DF9F717F9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F6421F12-7A34-8DC5-135E-D9B3835877B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00</a:t>
                </a:r>
              </a:p>
            </p:txBody>
          </p:sp>
        </p:grp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2742E616-A2E4-9259-F53A-46324273E6C4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1F19D04B-D22E-56B6-9076-F4D5CF63A7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CBD3C5F1-506B-4291-8A23-5CAA12604407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.60</a:t>
                </a:r>
              </a:p>
            </p:txBody>
          </p:sp>
        </p:grp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75CF7578-89A4-B59A-6F31-57E7B740F0F4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B7321E08-92DE-F1E5-0772-C7E098D6A79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F5613E37-D2AE-B5BD-5E91-AE60B502EB0F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.00</a:t>
                </a:r>
              </a:p>
            </p:txBody>
          </p: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8D7BC5C7-FF52-7A01-70B1-ADCC26B1A65C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30" name="Gerader Verbinder 29">
                <a:extLst>
                  <a:ext uri="{FF2B5EF4-FFF2-40B4-BE49-F238E27FC236}">
                    <a16:creationId xmlns:a16="http://schemas.microsoft.com/office/drawing/2014/main" id="{6952ED09-485A-F72B-DB06-1CDC042F7F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3A8A0789-C39C-5B66-3733-9C5057E7BE11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70</a:t>
                </a:r>
              </a:p>
            </p:txBody>
          </p:sp>
        </p:grpSp>
      </p:grpSp>
      <p:sp>
        <p:nvSpPr>
          <p:cNvPr id="42" name="Freihandform: Form 41">
            <a:extLst>
              <a:ext uri="{FF2B5EF4-FFF2-40B4-BE49-F238E27FC236}">
                <a16:creationId xmlns:a16="http://schemas.microsoft.com/office/drawing/2014/main" id="{638CE719-B54B-9087-A443-CFF0566B8A10}"/>
              </a:ext>
            </a:extLst>
          </p:cNvPr>
          <p:cNvSpPr/>
          <p:nvPr userDrawn="1"/>
        </p:nvSpPr>
        <p:spPr>
          <a:xfrm>
            <a:off x="11170444" y="299244"/>
            <a:ext cx="505399" cy="505399"/>
          </a:xfrm>
          <a:custGeom>
            <a:avLst/>
            <a:gdLst>
              <a:gd name="connsiteX0" fmla="*/ 1065181 w 1349978"/>
              <a:gd name="connsiteY0" fmla="*/ 378046 h 1349978"/>
              <a:gd name="connsiteX1" fmla="*/ 1122807 w 1349978"/>
              <a:gd name="connsiteY1" fmla="*/ 529779 h 1349978"/>
              <a:gd name="connsiteX2" fmla="*/ 1190816 w 1349978"/>
              <a:gd name="connsiteY2" fmla="*/ 640841 h 1349978"/>
              <a:gd name="connsiteX3" fmla="*/ 1152716 w 1349978"/>
              <a:gd name="connsiteY3" fmla="*/ 640841 h 1349978"/>
              <a:gd name="connsiteX4" fmla="*/ 1091851 w 1349978"/>
              <a:gd name="connsiteY4" fmla="*/ 576547 h 1349978"/>
              <a:gd name="connsiteX5" fmla="*/ 1060228 w 1349978"/>
              <a:gd name="connsiteY5" fmla="*/ 576547 h 1349978"/>
              <a:gd name="connsiteX6" fmla="*/ 1060228 w 1349978"/>
              <a:gd name="connsiteY6" fmla="*/ 671988 h 1349978"/>
              <a:gd name="connsiteX7" fmla="*/ 1287781 w 1349978"/>
              <a:gd name="connsiteY7" fmla="*/ 671988 h 1349978"/>
              <a:gd name="connsiteX8" fmla="*/ 1226725 w 1349978"/>
              <a:gd name="connsiteY8" fmla="*/ 511777 h 1349978"/>
              <a:gd name="connsiteX9" fmla="*/ 1163289 w 1349978"/>
              <a:gd name="connsiteY9" fmla="*/ 408717 h 1349978"/>
              <a:gd name="connsiteX10" fmla="*/ 1192054 w 1349978"/>
              <a:gd name="connsiteY10" fmla="*/ 408907 h 1349978"/>
              <a:gd name="connsiteX11" fmla="*/ 1192054 w 1349978"/>
              <a:gd name="connsiteY11" fmla="*/ 409002 h 1349978"/>
              <a:gd name="connsiteX12" fmla="*/ 1260444 w 1349978"/>
              <a:gd name="connsiteY12" fmla="*/ 473296 h 1349978"/>
              <a:gd name="connsiteX13" fmla="*/ 1290733 w 1349978"/>
              <a:gd name="connsiteY13" fmla="*/ 473296 h 1349978"/>
              <a:gd name="connsiteX14" fmla="*/ 1290733 w 1349978"/>
              <a:gd name="connsiteY14" fmla="*/ 378046 h 1349978"/>
              <a:gd name="connsiteX15" fmla="*/ 801053 w 1349978"/>
              <a:gd name="connsiteY15" fmla="*/ 378046 h 1349978"/>
              <a:gd name="connsiteX16" fmla="*/ 858679 w 1349978"/>
              <a:gd name="connsiteY16" fmla="*/ 529779 h 1349978"/>
              <a:gd name="connsiteX17" fmla="*/ 926688 w 1349978"/>
              <a:gd name="connsiteY17" fmla="*/ 640841 h 1349978"/>
              <a:gd name="connsiteX18" fmla="*/ 888588 w 1349978"/>
              <a:gd name="connsiteY18" fmla="*/ 640841 h 1349978"/>
              <a:gd name="connsiteX19" fmla="*/ 827723 w 1349978"/>
              <a:gd name="connsiteY19" fmla="*/ 576547 h 1349978"/>
              <a:gd name="connsiteX20" fmla="*/ 796100 w 1349978"/>
              <a:gd name="connsiteY20" fmla="*/ 576547 h 1349978"/>
              <a:gd name="connsiteX21" fmla="*/ 796100 w 1349978"/>
              <a:gd name="connsiteY21" fmla="*/ 671988 h 1349978"/>
              <a:gd name="connsiteX22" fmla="*/ 1023652 w 1349978"/>
              <a:gd name="connsiteY22" fmla="*/ 671988 h 1349978"/>
              <a:gd name="connsiteX23" fmla="*/ 962597 w 1349978"/>
              <a:gd name="connsiteY23" fmla="*/ 511777 h 1349978"/>
              <a:gd name="connsiteX24" fmla="*/ 899161 w 1349978"/>
              <a:gd name="connsiteY24" fmla="*/ 408717 h 1349978"/>
              <a:gd name="connsiteX25" fmla="*/ 927926 w 1349978"/>
              <a:gd name="connsiteY25" fmla="*/ 408907 h 1349978"/>
              <a:gd name="connsiteX26" fmla="*/ 927926 w 1349978"/>
              <a:gd name="connsiteY26" fmla="*/ 409002 h 1349978"/>
              <a:gd name="connsiteX27" fmla="*/ 996316 w 1349978"/>
              <a:gd name="connsiteY27" fmla="*/ 473296 h 1349978"/>
              <a:gd name="connsiteX28" fmla="*/ 1026891 w 1349978"/>
              <a:gd name="connsiteY28" fmla="*/ 473296 h 1349978"/>
              <a:gd name="connsiteX29" fmla="*/ 1026891 w 1349978"/>
              <a:gd name="connsiteY29" fmla="*/ 378046 h 1349978"/>
              <a:gd name="connsiteX30" fmla="*/ 606933 w 1349978"/>
              <a:gd name="connsiteY30" fmla="*/ 378046 h 1349978"/>
              <a:gd name="connsiteX31" fmla="*/ 606933 w 1349978"/>
              <a:gd name="connsiteY31" fmla="*/ 409193 h 1349978"/>
              <a:gd name="connsiteX32" fmla="*/ 614077 w 1349978"/>
              <a:gd name="connsiteY32" fmla="*/ 409193 h 1349978"/>
              <a:gd name="connsiteX33" fmla="*/ 637889 w 1349978"/>
              <a:gd name="connsiteY33" fmla="*/ 432815 h 1349978"/>
              <a:gd name="connsiteX34" fmla="*/ 637889 w 1349978"/>
              <a:gd name="connsiteY34" fmla="*/ 617028 h 1349978"/>
              <a:gd name="connsiteX35" fmla="*/ 614077 w 1349978"/>
              <a:gd name="connsiteY35" fmla="*/ 640650 h 1349978"/>
              <a:gd name="connsiteX36" fmla="*/ 606933 w 1349978"/>
              <a:gd name="connsiteY36" fmla="*/ 640650 h 1349978"/>
              <a:gd name="connsiteX37" fmla="*/ 606933 w 1349978"/>
              <a:gd name="connsiteY37" fmla="*/ 671797 h 1349978"/>
              <a:gd name="connsiteX38" fmla="*/ 763429 w 1349978"/>
              <a:gd name="connsiteY38" fmla="*/ 671797 h 1349978"/>
              <a:gd name="connsiteX39" fmla="*/ 763429 w 1349978"/>
              <a:gd name="connsiteY39" fmla="*/ 640650 h 1349978"/>
              <a:gd name="connsiteX40" fmla="*/ 756285 w 1349978"/>
              <a:gd name="connsiteY40" fmla="*/ 640650 h 1349978"/>
              <a:gd name="connsiteX41" fmla="*/ 732663 w 1349978"/>
              <a:gd name="connsiteY41" fmla="*/ 617028 h 1349978"/>
              <a:gd name="connsiteX42" fmla="*/ 732663 w 1349978"/>
              <a:gd name="connsiteY42" fmla="*/ 432815 h 1349978"/>
              <a:gd name="connsiteX43" fmla="*/ 756285 w 1349978"/>
              <a:gd name="connsiteY43" fmla="*/ 409193 h 1349978"/>
              <a:gd name="connsiteX44" fmla="*/ 763429 w 1349978"/>
              <a:gd name="connsiteY44" fmla="*/ 409193 h 1349978"/>
              <a:gd name="connsiteX45" fmla="*/ 763429 w 1349978"/>
              <a:gd name="connsiteY45" fmla="*/ 378046 h 1349978"/>
              <a:gd name="connsiteX46" fmla="*/ 325470 w 1349978"/>
              <a:gd name="connsiteY46" fmla="*/ 378046 h 1349978"/>
              <a:gd name="connsiteX47" fmla="*/ 325470 w 1349978"/>
              <a:gd name="connsiteY47" fmla="*/ 409383 h 1349978"/>
              <a:gd name="connsiteX48" fmla="*/ 332614 w 1349978"/>
              <a:gd name="connsiteY48" fmla="*/ 409383 h 1349978"/>
              <a:gd name="connsiteX49" fmla="*/ 356236 w 1349978"/>
              <a:gd name="connsiteY49" fmla="*/ 433005 h 1349978"/>
              <a:gd name="connsiteX50" fmla="*/ 356236 w 1349978"/>
              <a:gd name="connsiteY50" fmla="*/ 617219 h 1349978"/>
              <a:gd name="connsiteX51" fmla="*/ 332614 w 1349978"/>
              <a:gd name="connsiteY51" fmla="*/ 640841 h 1349978"/>
              <a:gd name="connsiteX52" fmla="*/ 325470 w 1349978"/>
              <a:gd name="connsiteY52" fmla="*/ 640841 h 1349978"/>
              <a:gd name="connsiteX53" fmla="*/ 325470 w 1349978"/>
              <a:gd name="connsiteY53" fmla="*/ 671988 h 1349978"/>
              <a:gd name="connsiteX54" fmla="*/ 574453 w 1349978"/>
              <a:gd name="connsiteY54" fmla="*/ 672178 h 1349978"/>
              <a:gd name="connsiteX55" fmla="*/ 574453 w 1349978"/>
              <a:gd name="connsiteY55" fmla="*/ 672083 h 1349978"/>
              <a:gd name="connsiteX56" fmla="*/ 574453 w 1349978"/>
              <a:gd name="connsiteY56" fmla="*/ 576642 h 1349978"/>
              <a:gd name="connsiteX57" fmla="*/ 542831 w 1349978"/>
              <a:gd name="connsiteY57" fmla="*/ 576642 h 1349978"/>
              <a:gd name="connsiteX58" fmla="*/ 481966 w 1349978"/>
              <a:gd name="connsiteY58" fmla="*/ 640936 h 1349978"/>
              <a:gd name="connsiteX59" fmla="*/ 450343 w 1349978"/>
              <a:gd name="connsiteY59" fmla="*/ 640936 h 1349978"/>
              <a:gd name="connsiteX60" fmla="*/ 450343 w 1349978"/>
              <a:gd name="connsiteY60" fmla="*/ 540733 h 1349978"/>
              <a:gd name="connsiteX61" fmla="*/ 461582 w 1349978"/>
              <a:gd name="connsiteY61" fmla="*/ 540733 h 1349978"/>
              <a:gd name="connsiteX62" fmla="*/ 485395 w 1349978"/>
              <a:gd name="connsiteY62" fmla="*/ 564546 h 1349978"/>
              <a:gd name="connsiteX63" fmla="*/ 485395 w 1349978"/>
              <a:gd name="connsiteY63" fmla="*/ 576452 h 1349978"/>
              <a:gd name="connsiteX64" fmla="*/ 516541 w 1349978"/>
              <a:gd name="connsiteY64" fmla="*/ 576452 h 1349978"/>
              <a:gd name="connsiteX65" fmla="*/ 516541 w 1349978"/>
              <a:gd name="connsiteY65" fmla="*/ 473677 h 1349978"/>
              <a:gd name="connsiteX66" fmla="*/ 485395 w 1349978"/>
              <a:gd name="connsiteY66" fmla="*/ 473677 h 1349978"/>
              <a:gd name="connsiteX67" fmla="*/ 485395 w 1349978"/>
              <a:gd name="connsiteY67" fmla="*/ 485583 h 1349978"/>
              <a:gd name="connsiteX68" fmla="*/ 461582 w 1349978"/>
              <a:gd name="connsiteY68" fmla="*/ 509396 h 1349978"/>
              <a:gd name="connsiteX69" fmla="*/ 450343 w 1349978"/>
              <a:gd name="connsiteY69" fmla="*/ 509396 h 1349978"/>
              <a:gd name="connsiteX70" fmla="*/ 450343 w 1349978"/>
              <a:gd name="connsiteY70" fmla="*/ 409193 h 1349978"/>
              <a:gd name="connsiteX71" fmla="*/ 481966 w 1349978"/>
              <a:gd name="connsiteY71" fmla="*/ 409193 h 1349978"/>
              <a:gd name="connsiteX72" fmla="*/ 542831 w 1349978"/>
              <a:gd name="connsiteY72" fmla="*/ 473487 h 1349978"/>
              <a:gd name="connsiteX73" fmla="*/ 574453 w 1349978"/>
              <a:gd name="connsiteY73" fmla="*/ 473487 h 1349978"/>
              <a:gd name="connsiteX74" fmla="*/ 574453 w 1349978"/>
              <a:gd name="connsiteY74" fmla="*/ 378046 h 1349978"/>
              <a:gd name="connsiteX75" fmla="*/ 62866 w 1349978"/>
              <a:gd name="connsiteY75" fmla="*/ 378046 h 1349978"/>
              <a:gd name="connsiteX76" fmla="*/ 62866 w 1349978"/>
              <a:gd name="connsiteY76" fmla="*/ 473296 h 1349978"/>
              <a:gd name="connsiteX77" fmla="*/ 93155 w 1349978"/>
              <a:gd name="connsiteY77" fmla="*/ 473296 h 1349978"/>
              <a:gd name="connsiteX78" fmla="*/ 161735 w 1349978"/>
              <a:gd name="connsiteY78" fmla="*/ 409002 h 1349978"/>
              <a:gd name="connsiteX79" fmla="*/ 161735 w 1349978"/>
              <a:gd name="connsiteY79" fmla="*/ 408907 h 1349978"/>
              <a:gd name="connsiteX80" fmla="*/ 190310 w 1349978"/>
              <a:gd name="connsiteY80" fmla="*/ 408717 h 1349978"/>
              <a:gd name="connsiteX81" fmla="*/ 126874 w 1349978"/>
              <a:gd name="connsiteY81" fmla="*/ 511777 h 1349978"/>
              <a:gd name="connsiteX82" fmla="*/ 52007 w 1349978"/>
              <a:gd name="connsiteY82" fmla="*/ 671988 h 1349978"/>
              <a:gd name="connsiteX83" fmla="*/ 293371 w 1349978"/>
              <a:gd name="connsiteY83" fmla="*/ 671988 h 1349978"/>
              <a:gd name="connsiteX84" fmla="*/ 293371 w 1349978"/>
              <a:gd name="connsiteY84" fmla="*/ 576547 h 1349978"/>
              <a:gd name="connsiteX85" fmla="*/ 261748 w 1349978"/>
              <a:gd name="connsiteY85" fmla="*/ 576547 h 1349978"/>
              <a:gd name="connsiteX86" fmla="*/ 201169 w 1349978"/>
              <a:gd name="connsiteY86" fmla="*/ 640841 h 1349978"/>
              <a:gd name="connsiteX87" fmla="*/ 162878 w 1349978"/>
              <a:gd name="connsiteY87" fmla="*/ 640841 h 1349978"/>
              <a:gd name="connsiteX88" fmla="*/ 231077 w 1349978"/>
              <a:gd name="connsiteY88" fmla="*/ 529779 h 1349978"/>
              <a:gd name="connsiteX89" fmla="*/ 299086 w 1349978"/>
              <a:gd name="connsiteY89" fmla="*/ 378046 h 1349978"/>
              <a:gd name="connsiteX90" fmla="*/ 0 w 1349978"/>
              <a:gd name="connsiteY90" fmla="*/ 0 h 1349978"/>
              <a:gd name="connsiteX91" fmla="*/ 1349978 w 1349978"/>
              <a:gd name="connsiteY91" fmla="*/ 0 h 1349978"/>
              <a:gd name="connsiteX92" fmla="*/ 1349788 w 1349978"/>
              <a:gd name="connsiteY92" fmla="*/ 1349978 h 1349978"/>
              <a:gd name="connsiteX93" fmla="*/ 675037 w 1349978"/>
              <a:gd name="connsiteY93" fmla="*/ 1205389 h 1349978"/>
              <a:gd name="connsiteX94" fmla="*/ 0 w 1349978"/>
              <a:gd name="connsiteY94" fmla="*/ 1349978 h 1349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349978" h="1349978">
                <a:moveTo>
                  <a:pt x="1065181" y="378046"/>
                </a:moveTo>
                <a:cubicBezTo>
                  <a:pt x="1065181" y="378046"/>
                  <a:pt x="1029462" y="424814"/>
                  <a:pt x="1122807" y="529779"/>
                </a:cubicBezTo>
                <a:cubicBezTo>
                  <a:pt x="1122807" y="529779"/>
                  <a:pt x="1189006" y="607027"/>
                  <a:pt x="1190816" y="640841"/>
                </a:cubicBezTo>
                <a:lnTo>
                  <a:pt x="1152716" y="640841"/>
                </a:lnTo>
                <a:cubicBezTo>
                  <a:pt x="1097757" y="640841"/>
                  <a:pt x="1091851" y="576547"/>
                  <a:pt x="1091851" y="576547"/>
                </a:cubicBezTo>
                <a:lnTo>
                  <a:pt x="1060228" y="576547"/>
                </a:lnTo>
                <a:lnTo>
                  <a:pt x="1060228" y="671988"/>
                </a:lnTo>
                <a:lnTo>
                  <a:pt x="1287781" y="671988"/>
                </a:lnTo>
                <a:cubicBezTo>
                  <a:pt x="1287781" y="671988"/>
                  <a:pt x="1329119" y="627411"/>
                  <a:pt x="1226725" y="511777"/>
                </a:cubicBezTo>
                <a:cubicBezTo>
                  <a:pt x="1226725" y="511777"/>
                  <a:pt x="1173004" y="456627"/>
                  <a:pt x="1163289" y="408717"/>
                </a:cubicBezTo>
                <a:lnTo>
                  <a:pt x="1192054" y="408907"/>
                </a:lnTo>
                <a:lnTo>
                  <a:pt x="1192054" y="409002"/>
                </a:lnTo>
                <a:cubicBezTo>
                  <a:pt x="1255300" y="409002"/>
                  <a:pt x="1260444" y="473296"/>
                  <a:pt x="1260444" y="473296"/>
                </a:cubicBezTo>
                <a:lnTo>
                  <a:pt x="1290733" y="473296"/>
                </a:lnTo>
                <a:lnTo>
                  <a:pt x="1290733" y="378046"/>
                </a:lnTo>
                <a:close/>
                <a:moveTo>
                  <a:pt x="801053" y="378046"/>
                </a:moveTo>
                <a:cubicBezTo>
                  <a:pt x="801053" y="378046"/>
                  <a:pt x="765334" y="424814"/>
                  <a:pt x="858679" y="529779"/>
                </a:cubicBezTo>
                <a:cubicBezTo>
                  <a:pt x="858679" y="529779"/>
                  <a:pt x="924878" y="607027"/>
                  <a:pt x="926688" y="640841"/>
                </a:cubicBezTo>
                <a:lnTo>
                  <a:pt x="888588" y="640841"/>
                </a:lnTo>
                <a:cubicBezTo>
                  <a:pt x="833629" y="640841"/>
                  <a:pt x="827723" y="576547"/>
                  <a:pt x="827723" y="576547"/>
                </a:cubicBezTo>
                <a:lnTo>
                  <a:pt x="796100" y="576547"/>
                </a:lnTo>
                <a:lnTo>
                  <a:pt x="796100" y="671988"/>
                </a:lnTo>
                <a:lnTo>
                  <a:pt x="1023652" y="671988"/>
                </a:lnTo>
                <a:cubicBezTo>
                  <a:pt x="1023652" y="671988"/>
                  <a:pt x="1064991" y="627411"/>
                  <a:pt x="962597" y="511777"/>
                </a:cubicBezTo>
                <a:cubicBezTo>
                  <a:pt x="962597" y="511777"/>
                  <a:pt x="908876" y="456627"/>
                  <a:pt x="899161" y="408717"/>
                </a:cubicBezTo>
                <a:lnTo>
                  <a:pt x="927926" y="408907"/>
                </a:lnTo>
                <a:lnTo>
                  <a:pt x="927926" y="409002"/>
                </a:lnTo>
                <a:cubicBezTo>
                  <a:pt x="991363" y="409002"/>
                  <a:pt x="996316" y="473296"/>
                  <a:pt x="996316" y="473296"/>
                </a:cubicBezTo>
                <a:lnTo>
                  <a:pt x="1026891" y="473296"/>
                </a:lnTo>
                <a:lnTo>
                  <a:pt x="1026891" y="378046"/>
                </a:lnTo>
                <a:close/>
                <a:moveTo>
                  <a:pt x="606933" y="378046"/>
                </a:moveTo>
                <a:lnTo>
                  <a:pt x="606933" y="409193"/>
                </a:lnTo>
                <a:lnTo>
                  <a:pt x="614077" y="409193"/>
                </a:lnTo>
                <a:cubicBezTo>
                  <a:pt x="627316" y="409193"/>
                  <a:pt x="637889" y="419766"/>
                  <a:pt x="637889" y="432815"/>
                </a:cubicBezTo>
                <a:lnTo>
                  <a:pt x="637889" y="617028"/>
                </a:lnTo>
                <a:cubicBezTo>
                  <a:pt x="637889" y="629982"/>
                  <a:pt x="627316" y="640650"/>
                  <a:pt x="614077" y="640650"/>
                </a:cubicBezTo>
                <a:lnTo>
                  <a:pt x="606933" y="640650"/>
                </a:lnTo>
                <a:lnTo>
                  <a:pt x="606933" y="671797"/>
                </a:lnTo>
                <a:lnTo>
                  <a:pt x="763429" y="671797"/>
                </a:lnTo>
                <a:lnTo>
                  <a:pt x="763429" y="640650"/>
                </a:lnTo>
                <a:lnTo>
                  <a:pt x="756285" y="640650"/>
                </a:lnTo>
                <a:cubicBezTo>
                  <a:pt x="743331" y="640650"/>
                  <a:pt x="732663" y="629982"/>
                  <a:pt x="732663" y="617028"/>
                </a:cubicBezTo>
                <a:lnTo>
                  <a:pt x="732663" y="432815"/>
                </a:lnTo>
                <a:cubicBezTo>
                  <a:pt x="732663" y="419861"/>
                  <a:pt x="743236" y="409193"/>
                  <a:pt x="756285" y="409193"/>
                </a:cubicBezTo>
                <a:lnTo>
                  <a:pt x="763429" y="409193"/>
                </a:lnTo>
                <a:lnTo>
                  <a:pt x="763429" y="378046"/>
                </a:lnTo>
                <a:close/>
                <a:moveTo>
                  <a:pt x="325470" y="378046"/>
                </a:moveTo>
                <a:lnTo>
                  <a:pt x="325470" y="409383"/>
                </a:lnTo>
                <a:lnTo>
                  <a:pt x="332614" y="409383"/>
                </a:lnTo>
                <a:cubicBezTo>
                  <a:pt x="345568" y="409383"/>
                  <a:pt x="356236" y="420051"/>
                  <a:pt x="356236" y="433005"/>
                </a:cubicBezTo>
                <a:lnTo>
                  <a:pt x="356236" y="617219"/>
                </a:lnTo>
                <a:cubicBezTo>
                  <a:pt x="356236" y="630173"/>
                  <a:pt x="345663" y="640841"/>
                  <a:pt x="332614" y="640841"/>
                </a:cubicBezTo>
                <a:lnTo>
                  <a:pt x="325470" y="640841"/>
                </a:lnTo>
                <a:lnTo>
                  <a:pt x="325470" y="671988"/>
                </a:lnTo>
                <a:lnTo>
                  <a:pt x="574453" y="672178"/>
                </a:lnTo>
                <a:lnTo>
                  <a:pt x="574453" y="672083"/>
                </a:lnTo>
                <a:lnTo>
                  <a:pt x="574453" y="576642"/>
                </a:lnTo>
                <a:lnTo>
                  <a:pt x="542831" y="576642"/>
                </a:lnTo>
                <a:cubicBezTo>
                  <a:pt x="542831" y="576642"/>
                  <a:pt x="537020" y="640936"/>
                  <a:pt x="481966" y="640936"/>
                </a:cubicBezTo>
                <a:lnTo>
                  <a:pt x="450343" y="640936"/>
                </a:lnTo>
                <a:lnTo>
                  <a:pt x="450343" y="540733"/>
                </a:lnTo>
                <a:lnTo>
                  <a:pt x="461582" y="540733"/>
                </a:lnTo>
                <a:cubicBezTo>
                  <a:pt x="474822" y="540733"/>
                  <a:pt x="485395" y="551401"/>
                  <a:pt x="485395" y="564546"/>
                </a:cubicBezTo>
                <a:lnTo>
                  <a:pt x="485395" y="576452"/>
                </a:lnTo>
                <a:lnTo>
                  <a:pt x="516541" y="576452"/>
                </a:lnTo>
                <a:lnTo>
                  <a:pt x="516541" y="473677"/>
                </a:lnTo>
                <a:lnTo>
                  <a:pt x="485395" y="473677"/>
                </a:lnTo>
                <a:lnTo>
                  <a:pt x="485395" y="485583"/>
                </a:lnTo>
                <a:cubicBezTo>
                  <a:pt x="485395" y="498823"/>
                  <a:pt x="474822" y="509396"/>
                  <a:pt x="461582" y="509396"/>
                </a:cubicBezTo>
                <a:lnTo>
                  <a:pt x="450343" y="509396"/>
                </a:lnTo>
                <a:lnTo>
                  <a:pt x="450343" y="409193"/>
                </a:lnTo>
                <a:lnTo>
                  <a:pt x="481966" y="409193"/>
                </a:lnTo>
                <a:cubicBezTo>
                  <a:pt x="536925" y="409193"/>
                  <a:pt x="542831" y="473487"/>
                  <a:pt x="542831" y="473487"/>
                </a:cubicBezTo>
                <a:lnTo>
                  <a:pt x="574453" y="473487"/>
                </a:lnTo>
                <a:lnTo>
                  <a:pt x="574453" y="378046"/>
                </a:lnTo>
                <a:close/>
                <a:moveTo>
                  <a:pt x="62866" y="378046"/>
                </a:moveTo>
                <a:lnTo>
                  <a:pt x="62866" y="473296"/>
                </a:lnTo>
                <a:lnTo>
                  <a:pt x="93155" y="473296"/>
                </a:lnTo>
                <a:cubicBezTo>
                  <a:pt x="93155" y="473296"/>
                  <a:pt x="98299" y="409002"/>
                  <a:pt x="161735" y="409002"/>
                </a:cubicBezTo>
                <a:lnTo>
                  <a:pt x="161735" y="408907"/>
                </a:lnTo>
                <a:lnTo>
                  <a:pt x="190310" y="408717"/>
                </a:lnTo>
                <a:cubicBezTo>
                  <a:pt x="178404" y="454246"/>
                  <a:pt x="126874" y="511777"/>
                  <a:pt x="126874" y="511777"/>
                </a:cubicBezTo>
                <a:cubicBezTo>
                  <a:pt x="43149" y="599693"/>
                  <a:pt x="52007" y="671988"/>
                  <a:pt x="52007" y="671988"/>
                </a:cubicBezTo>
                <a:lnTo>
                  <a:pt x="293371" y="671988"/>
                </a:lnTo>
                <a:lnTo>
                  <a:pt x="293371" y="576547"/>
                </a:lnTo>
                <a:lnTo>
                  <a:pt x="261748" y="576547"/>
                </a:lnTo>
                <a:cubicBezTo>
                  <a:pt x="261748" y="576547"/>
                  <a:pt x="256128" y="640841"/>
                  <a:pt x="201169" y="640841"/>
                </a:cubicBezTo>
                <a:lnTo>
                  <a:pt x="162878" y="640841"/>
                </a:lnTo>
                <a:cubicBezTo>
                  <a:pt x="164593" y="607027"/>
                  <a:pt x="231077" y="529779"/>
                  <a:pt x="231077" y="529779"/>
                </a:cubicBezTo>
                <a:cubicBezTo>
                  <a:pt x="300991" y="451674"/>
                  <a:pt x="299086" y="378046"/>
                  <a:pt x="299086" y="378046"/>
                </a:cubicBezTo>
                <a:close/>
                <a:moveTo>
                  <a:pt x="0" y="0"/>
                </a:moveTo>
                <a:lnTo>
                  <a:pt x="1349978" y="0"/>
                </a:lnTo>
                <a:lnTo>
                  <a:pt x="1349788" y="1349978"/>
                </a:lnTo>
                <a:cubicBezTo>
                  <a:pt x="1143953" y="1257110"/>
                  <a:pt x="915543" y="1205389"/>
                  <a:pt x="675037" y="1205389"/>
                </a:cubicBezTo>
                <a:cubicBezTo>
                  <a:pt x="434530" y="1205389"/>
                  <a:pt x="205835" y="1257110"/>
                  <a:pt x="0" y="1349978"/>
                </a:cubicBezTo>
                <a:close/>
              </a:path>
            </a:pathLst>
          </a:custGeom>
          <a:solidFill>
            <a:srgbClr val="0F2DB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2533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672128A-9CD1-4BA0-8866-2DE4C8621BF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63E6CB3C-AA15-4066-87A4-1BC111AFD6D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18320" y="1631837"/>
            <a:ext cx="3521074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1B4FA4A-707E-4B21-8550-2A1CA445619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36655" y="1631837"/>
            <a:ext cx="3521074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6568BC8-CF70-4E83-B3D8-E4E070B4F8E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154989" y="1631837"/>
            <a:ext cx="3521074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102CB9D-4819-4042-AAFD-7958A4C7428D}"/>
              </a:ext>
            </a:extLst>
          </p:cNvPr>
          <p:cNvSpPr>
            <a:spLocks noGrp="1"/>
          </p:cNvSpPr>
          <p:nvPr>
            <p:ph type="dt" sz="half" idx="68"/>
          </p:nvPr>
        </p:nvSpPr>
        <p:spPr/>
        <p:txBody>
          <a:bodyPr/>
          <a:lstStyle/>
          <a:p>
            <a:fld id="{732F2286-9674-44F0-B4CA-0CE533CB74B6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4F1084E-E079-4EB4-A1F3-26B9209D3CC5}"/>
              </a:ext>
            </a:extLst>
          </p:cNvPr>
          <p:cNvSpPr>
            <a:spLocks noGrp="1"/>
          </p:cNvSpPr>
          <p:nvPr>
            <p:ph type="ftr" sz="quarter" idx="69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146C619-2560-4AAC-8398-CE3A02E1D5F3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66297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78DED978-10E9-4C45-9AF8-D5BAE20E962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18320" y="1631837"/>
            <a:ext cx="2570061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3CA966A3-1F04-42F3-AA58-C900F327C55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380881" y="1631837"/>
            <a:ext cx="2570061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E9EB05F1-EE7A-473E-83D8-EA42061575E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243442" y="1631837"/>
            <a:ext cx="2570061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6002" y="1631837"/>
            <a:ext cx="2570061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C66A3E1-DB69-4154-B04C-355FC02A89A8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2629D243-57EA-4FB3-AD6B-31F22D4F3B11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BBC0533-4FB6-4E4C-9FEE-307A65EB0EF1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753430-571A-42FB-ABDB-E185A1666AB5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36145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| 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4DC0976-C523-4842-8BFE-0A9CBF3B503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18318" y="1631837"/>
            <a:ext cx="5433219" cy="2086521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DBBDED6D-1B2A-4452-8222-8F9BFC9EAEF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18318" y="4006299"/>
            <a:ext cx="5433219" cy="2086521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A5093DB-E40A-443C-AE2F-5BD6332BA4D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2844" y="1631837"/>
            <a:ext cx="5433219" cy="2086521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42844" y="4006299"/>
            <a:ext cx="5433219" cy="2086521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856AE80-64C9-468E-83D2-89FF7C96AA94}"/>
              </a:ext>
            </a:extLst>
          </p:cNvPr>
          <p:cNvSpPr>
            <a:spLocks noGrp="1"/>
          </p:cNvSpPr>
          <p:nvPr>
            <p:ph type="dt" sz="half" idx="72"/>
          </p:nvPr>
        </p:nvSpPr>
        <p:spPr/>
        <p:txBody>
          <a:bodyPr/>
          <a:lstStyle/>
          <a:p>
            <a:fld id="{CB4A415D-18C8-4752-AEB6-EB69C5AFA046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0C193D0-85F9-429C-B3DB-E608384DC738}"/>
              </a:ext>
            </a:extLst>
          </p:cNvPr>
          <p:cNvSpPr>
            <a:spLocks noGrp="1"/>
          </p:cNvSpPr>
          <p:nvPr>
            <p:ph type="ftr" sz="quarter" idx="73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1A7080C-3AB4-4217-8B70-9F4453998D34}"/>
              </a:ext>
            </a:extLst>
          </p:cNvPr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65444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 Photo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42847" y="1631837"/>
            <a:ext cx="5433216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F8B81FA6-341F-4F98-BDCB-E4F6B6D12B4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219180E3-3297-4CBF-9A1C-BF98BA2B751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319" y="1631837"/>
            <a:ext cx="5433219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B60A86B-2C67-43D7-87CB-5F0345951B70}"/>
              </a:ext>
            </a:extLst>
          </p:cNvPr>
          <p:cNvSpPr>
            <a:spLocks noGrp="1"/>
          </p:cNvSpPr>
          <p:nvPr>
            <p:ph type="dt" sz="half" idx="65"/>
          </p:nvPr>
        </p:nvSpPr>
        <p:spPr/>
        <p:txBody>
          <a:bodyPr/>
          <a:lstStyle/>
          <a:p>
            <a:fld id="{DAD31600-87B0-4B3D-BEA5-D5E5D3746A44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52409F4-987E-4D00-82C8-E98930C0182F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24FF6FB-E90B-4213-AD64-BF49E131A208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4626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 Photo Slide | 2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42847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E207224-BD49-486F-AD1A-8E3330BDCF5D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9103918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67019CAF-952D-4F3E-8D6F-25ACB42A0F4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BD66A5F-8890-45C7-AFA2-FBAFE51EAA5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18319" y="1631837"/>
            <a:ext cx="5433219" cy="3618387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50776CE-C715-4BB6-9753-D24EE139A4F8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871538" y="5634172"/>
            <a:ext cx="1080000" cy="461665"/>
          </a:xfrm>
        </p:spPr>
        <p:txBody>
          <a:bodyPr wrap="square">
            <a:noAutofit/>
          </a:bodyPr>
          <a:lstStyle>
            <a:lvl1pPr algn="r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2</a:t>
            </a:r>
            <a:br>
              <a:rPr lang="en-US" noProof="0"/>
            </a:br>
            <a:r>
              <a:rPr lang="en-US" noProof="0"/>
              <a:t>Edit master text forma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0FA2D9FE-5416-445D-999A-5E09BE4B77B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502611" y="5634172"/>
            <a:ext cx="1080000" cy="461665"/>
          </a:xfrm>
        </p:spPr>
        <p:txBody>
          <a:bodyPr wrap="square">
            <a:noAutofit/>
          </a:bodyPr>
          <a:lstStyle>
            <a:lvl1pPr algn="r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  <a:br>
              <a:rPr lang="en-US" noProof="0"/>
            </a:br>
            <a:r>
              <a:rPr lang="en-US" noProof="0"/>
              <a:t>Edit master text format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4758C8A2-BB5A-4369-8E47-1B3AD76831C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242847" y="5634172"/>
            <a:ext cx="342680" cy="461665"/>
          </a:xfrm>
        </p:spPr>
        <p:txBody>
          <a:bodyPr wrap="none">
            <a:noAutofit/>
          </a:bodyPr>
          <a:lstStyle>
            <a:lvl1pPr algn="r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B3A890A-9CCC-4136-9288-897A93AE1F0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3918" y="5634172"/>
            <a:ext cx="342680" cy="461665"/>
          </a:xfrm>
        </p:spPr>
        <p:txBody>
          <a:bodyPr wrap="none">
            <a:noAutofit/>
          </a:bodyPr>
          <a:lstStyle>
            <a:lvl1pPr algn="r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578A6F3-FA0A-497B-B3C3-3F161FD7737F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EA3FEC4D-A520-41EA-A9F0-FEE8F330B45D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E50EEDF-D2E6-4F68-989E-872B6ADC7A2A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0C6A4D2-790B-43AA-B04E-B54A8CABCBAA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91797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18319" y="1631837"/>
            <a:ext cx="5433216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1578027-2A9A-485E-94CA-26294C7CB3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2C0F8EF-24A8-485F-AAF4-B9275B071EB6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42844" y="1631837"/>
            <a:ext cx="5433219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2864BD2-AB7C-4DCA-9DE1-7FB94AD904EA}"/>
              </a:ext>
            </a:extLst>
          </p:cNvPr>
          <p:cNvSpPr>
            <a:spLocks noGrp="1"/>
          </p:cNvSpPr>
          <p:nvPr>
            <p:ph type="dt" sz="half" idx="66"/>
          </p:nvPr>
        </p:nvSpPr>
        <p:spPr/>
        <p:txBody>
          <a:bodyPr/>
          <a:lstStyle/>
          <a:p>
            <a:fld id="{6E357122-83A9-43E6-B26E-A6B59204C375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443A2DB-597F-4CE8-8F6C-4377E0CEB6AC}"/>
              </a:ext>
            </a:extLst>
          </p:cNvPr>
          <p:cNvSpPr>
            <a:spLocks noGrp="1"/>
          </p:cNvSpPr>
          <p:nvPr>
            <p:ph type="ftr" sz="quarter" idx="67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1C15477-FDBB-48A8-91C3-0750C08B32A4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129737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2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18319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5A4E8199-7A92-4A66-8124-B13B4C014735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379392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061F6D30-1E0B-46ED-9FBA-4F7AF9D857E8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E782CB96-581D-4138-8E6D-A203BF9A3FAC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42844" y="1631837"/>
            <a:ext cx="5433219" cy="3618392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CDA597C6-0A4F-4BA3-9D9F-D018CC3CEB6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611773" y="5634172"/>
            <a:ext cx="1080000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2</a:t>
            </a:r>
            <a:br>
              <a:rPr lang="en-US" noProof="0"/>
            </a:br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  <a:p>
            <a:pPr lvl="0"/>
            <a:endParaRPr lang="en-US" noProof="0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7BB86B27-C1F4-4CF2-B198-5D4BFE7A1B2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2846" y="5634172"/>
            <a:ext cx="1080000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  <a:br>
              <a:rPr lang="en-US" noProof="0"/>
            </a:br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  <a:p>
            <a:pPr lvl="0"/>
            <a:endParaRPr lang="en-US" noProof="0"/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B97C8C8-4903-4649-A7C4-146F348AE41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747784" y="5634172"/>
            <a:ext cx="342680" cy="461665"/>
          </a:xfrm>
        </p:spPr>
        <p:txBody>
          <a:bodyPr wrap="none">
            <a:noAutofit/>
          </a:bodyPr>
          <a:lstStyle>
            <a:lvl1pPr algn="l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F952D61-AD88-4D90-9FD3-D4025F3F52B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608857" y="5634172"/>
            <a:ext cx="342680" cy="461665"/>
          </a:xfrm>
        </p:spPr>
        <p:txBody>
          <a:bodyPr wrap="none">
            <a:noAutofit/>
          </a:bodyPr>
          <a:lstStyle>
            <a:lvl1pPr algn="l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1A5416F-ED2A-4827-8213-6D1F4A03387B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BEABB37D-CD33-43AC-81D0-99E8D2119720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CA377D-1FBB-4BB2-A8B4-C5E06F31771F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5D3D571-E499-4DCF-B423-B1E4ADEA9331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499832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3x photo, 1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6E754CB4-F023-45A0-B611-0ED33750D9DF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243442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6002" y="1631837"/>
            <a:ext cx="2570061" cy="3618387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8BEA3D8-5EE9-4798-8C5D-DB778BA72105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518319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5D5B8114-B5D9-41DA-B646-7C160DB49805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3380880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7ADB94BB-27AF-4A29-A952-D0905290E0F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106001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A490FC2-3ECF-494E-9668-92EFD2003067}"/>
              </a:ext>
            </a:extLst>
          </p:cNvPr>
          <p:cNvSpPr>
            <a:spLocks noGrp="1"/>
          </p:cNvSpPr>
          <p:nvPr>
            <p:ph type="dt" sz="half" idx="73"/>
          </p:nvPr>
        </p:nvSpPr>
        <p:spPr/>
        <p:txBody>
          <a:bodyPr/>
          <a:lstStyle/>
          <a:p>
            <a:fld id="{2A75F4C6-0FE8-4315-9F6A-20585B4DD100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3EA0103-F5F3-4AB3-8D51-49AE546C6676}"/>
              </a:ext>
            </a:extLst>
          </p:cNvPr>
          <p:cNvSpPr>
            <a:spLocks noGrp="1"/>
          </p:cNvSpPr>
          <p:nvPr>
            <p:ph type="ftr" sz="quarter" idx="74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DCB3E13-73CE-43B1-86CA-645B7248031D}"/>
              </a:ext>
            </a:extLst>
          </p:cNvPr>
          <p:cNvSpPr>
            <a:spLocks noGrp="1"/>
          </p:cNvSpPr>
          <p:nvPr>
            <p:ph type="sldNum" sz="quarter" idx="75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708704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2x photo, 2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6E754CB4-F023-45A0-B611-0ED33750D9DF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243442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6002" y="1631837"/>
            <a:ext cx="2570061" cy="3618387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8BEA3D8-5EE9-4798-8C5D-DB778BA72105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518319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7ADB94BB-27AF-4A29-A952-D0905290E0F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106001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4E465F10-F1D4-4895-B962-24BDBDE68DC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380880" y="1631837"/>
            <a:ext cx="2570061" cy="3618387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BD1C0236-2D51-4C28-B36B-9C19644B9B5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380880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2EB0406-6104-45B2-A50D-9622CC2F9814}"/>
              </a:ext>
            </a:extLst>
          </p:cNvPr>
          <p:cNvSpPr>
            <a:spLocks noGrp="1"/>
          </p:cNvSpPr>
          <p:nvPr>
            <p:ph type="dt" sz="half" idx="74"/>
          </p:nvPr>
        </p:nvSpPr>
        <p:spPr/>
        <p:txBody>
          <a:bodyPr/>
          <a:lstStyle/>
          <a:p>
            <a:fld id="{70A72D78-E7FE-4D06-AD7B-0C19EDB0DFAF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8955648-6AE2-4E7D-AF06-075C42F72E70}"/>
              </a:ext>
            </a:extLst>
          </p:cNvPr>
          <p:cNvSpPr>
            <a:spLocks noGrp="1"/>
          </p:cNvSpPr>
          <p:nvPr>
            <p:ph type="ftr" sz="quarter" idx="75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263E9CF-BBE6-461D-8930-7D7E43D3BC6F}"/>
              </a:ext>
            </a:extLst>
          </p:cNvPr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5814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2x photo, 2x text - between each ot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A5093DB-E40A-443C-AE2F-5BD6332BA4D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2844" y="1631837"/>
            <a:ext cx="5433219" cy="2086521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42844" y="4006299"/>
            <a:ext cx="5433219" cy="2086521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73FBE26-823C-44A4-9918-6F7FC142C36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318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F2E74611-DA65-4DA5-8289-B430E76A77AF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518318" y="4006299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2E85E68-330A-4FD4-A107-DEF789FA03C2}"/>
              </a:ext>
            </a:extLst>
          </p:cNvPr>
          <p:cNvSpPr>
            <a:spLocks noGrp="1"/>
          </p:cNvSpPr>
          <p:nvPr>
            <p:ph type="dt" sz="half" idx="74"/>
          </p:nvPr>
        </p:nvSpPr>
        <p:spPr/>
        <p:txBody>
          <a:bodyPr/>
          <a:lstStyle/>
          <a:p>
            <a:fld id="{52355604-92EF-4A21-AE4E-48CBF1DADC26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69F9DD4-74C0-4F0C-9870-B0E1081913FB}"/>
              </a:ext>
            </a:extLst>
          </p:cNvPr>
          <p:cNvSpPr>
            <a:spLocks noGrp="1"/>
          </p:cNvSpPr>
          <p:nvPr>
            <p:ph type="ftr" sz="quarter" idx="75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D1DE772-7157-494D-B316-91775406AF1A}"/>
              </a:ext>
            </a:extLst>
          </p:cNvPr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6153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| Extern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92DD91-EAE8-4850-A1F1-29F8A7A57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213089"/>
            <a:ext cx="11157744" cy="738664"/>
          </a:xfrm>
        </p:spPr>
        <p:txBody>
          <a:bodyPr anchor="b" anchorCtr="0"/>
          <a:lstStyle>
            <a:lvl1pPr>
              <a:defRPr sz="4800"/>
            </a:lvl1pPr>
          </a:lstStyle>
          <a:p>
            <a:r>
              <a:rPr lang="en-US" noProof="0" dirty="0"/>
              <a:t>Edit Master Cover Format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F52AEE9E-B08F-4C0A-BEEE-04C7FFB48E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9" y="2872085"/>
            <a:ext cx="11157744" cy="738664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8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51" name="Textplatzhalter 14">
            <a:extLst>
              <a:ext uri="{FF2B5EF4-FFF2-40B4-BE49-F238E27FC236}">
                <a16:creationId xmlns:a16="http://schemas.microsoft.com/office/drawing/2014/main" id="{501BEDEB-A8AE-4EFD-9CDF-207454EBAE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9" y="4963183"/>
            <a:ext cx="4319999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uthor</a:t>
            </a:r>
          </a:p>
        </p:txBody>
      </p:sp>
      <p:sp>
        <p:nvSpPr>
          <p:cNvPr id="52" name="Textplatzhalter 14">
            <a:extLst>
              <a:ext uri="{FF2B5EF4-FFF2-40B4-BE49-F238E27FC236}">
                <a16:creationId xmlns:a16="http://schemas.microsoft.com/office/drawing/2014/main" id="{D7F978A2-D352-4AAC-BEB1-0402A13EE7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9" y="5139395"/>
            <a:ext cx="4319999" cy="184666"/>
          </a:xfrm>
        </p:spPr>
        <p:txBody>
          <a:bodyPr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partment</a:t>
            </a:r>
          </a:p>
        </p:txBody>
      </p:sp>
      <p:cxnSp>
        <p:nvCxnSpPr>
          <p:cNvPr id="53" name="Gerade Verbindung 22">
            <a:extLst>
              <a:ext uri="{FF2B5EF4-FFF2-40B4-BE49-F238E27FC236}">
                <a16:creationId xmlns:a16="http://schemas.microsoft.com/office/drawing/2014/main" id="{9D058BB7-35BD-4743-A2CE-335778ABA86A}"/>
              </a:ext>
            </a:extLst>
          </p:cNvPr>
          <p:cNvCxnSpPr>
            <a:cxnSpLocks/>
          </p:cNvCxnSpPr>
          <p:nvPr/>
        </p:nvCxnSpPr>
        <p:spPr>
          <a:xfrm>
            <a:off x="518319" y="4887206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22">
            <a:extLst>
              <a:ext uri="{FF2B5EF4-FFF2-40B4-BE49-F238E27FC236}">
                <a16:creationId xmlns:a16="http://schemas.microsoft.com/office/drawing/2014/main" id="{B1AAF8F8-2819-4C84-B15F-6801F5454C9E}"/>
              </a:ext>
            </a:extLst>
          </p:cNvPr>
          <p:cNvCxnSpPr>
            <a:cxnSpLocks/>
          </p:cNvCxnSpPr>
          <p:nvPr/>
        </p:nvCxnSpPr>
        <p:spPr>
          <a:xfrm>
            <a:off x="518319" y="5575864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22">
            <a:extLst>
              <a:ext uri="{FF2B5EF4-FFF2-40B4-BE49-F238E27FC236}">
                <a16:creationId xmlns:a16="http://schemas.microsoft.com/office/drawing/2014/main" id="{9BD901D7-DE81-4C82-B0AD-09E48E69503F}"/>
              </a:ext>
            </a:extLst>
          </p:cNvPr>
          <p:cNvCxnSpPr>
            <a:cxnSpLocks/>
          </p:cNvCxnSpPr>
          <p:nvPr/>
        </p:nvCxnSpPr>
        <p:spPr>
          <a:xfrm>
            <a:off x="518319" y="6093705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22">
            <a:extLst>
              <a:ext uri="{FF2B5EF4-FFF2-40B4-BE49-F238E27FC236}">
                <a16:creationId xmlns:a16="http://schemas.microsoft.com/office/drawing/2014/main" id="{89ECB648-6558-4C1A-B652-7EF5CAECC96D}"/>
              </a:ext>
            </a:extLst>
          </p:cNvPr>
          <p:cNvCxnSpPr>
            <a:cxnSpLocks/>
          </p:cNvCxnSpPr>
          <p:nvPr userDrawn="1"/>
        </p:nvCxnSpPr>
        <p:spPr>
          <a:xfrm>
            <a:off x="518319" y="6093705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Datumsplatzhalter 1">
            <a:extLst>
              <a:ext uri="{FF2B5EF4-FFF2-40B4-BE49-F238E27FC236}">
                <a16:creationId xmlns:a16="http://schemas.microsoft.com/office/drawing/2014/main" id="{EE9F5FC6-0FA4-4F34-B64C-5B688B67F16F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18319" y="5651841"/>
            <a:ext cx="1133324" cy="184666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defRPr lang="de-DE" sz="1200" b="1" smtClean="0">
                <a:cs typeface="+mn-cs"/>
              </a:defRPr>
            </a:lvl1pPr>
          </a:lstStyle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D8EF1967-2AEA-462C-82AF-574ED4D8823D}" type="datetime3">
              <a:rPr lang="en-US" noProof="0" smtClean="0"/>
              <a:t>20 April 2026</a:t>
            </a:fld>
            <a:endParaRPr lang="en-US" noProof="0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1D4941A1-E16F-436C-B7AD-5926120C20F7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64" name="Gruppieren 63">
              <a:extLst>
                <a:ext uri="{FF2B5EF4-FFF2-40B4-BE49-F238E27FC236}">
                  <a16:creationId xmlns:a16="http://schemas.microsoft.com/office/drawing/2014/main" id="{95CCCA0A-4F6D-4997-9A71-0915AACC6F6A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BBE0F306-8FF4-46DC-BD57-04D346D83B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DF8AA836-E204-45C8-A84A-347CF0F2E88C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B2A1AFF6-18DA-4260-B554-1F8AAFF2618F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06D33D7D-808B-4D3C-A71C-C8C2B187F6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A5131992-EBCC-4736-8FD2-852B17A6E878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4F59310F-D730-49AD-922B-07279D1FB3EE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BAF3ED95-E7C8-4B55-8940-22FEDE14E0A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FE1BC04F-5639-4896-A878-B286A36F4509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3E2AC791-FB90-4350-A0FB-480413CBEBBE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9" name="Gruppieren 68">
              <a:extLst>
                <a:ext uri="{FF2B5EF4-FFF2-40B4-BE49-F238E27FC236}">
                  <a16:creationId xmlns:a16="http://schemas.microsoft.com/office/drawing/2014/main" id="{F8C55E8A-1695-4EB7-B0FA-028246175A48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70" name="Gerader Verbinder 69">
                <a:extLst>
                  <a:ext uri="{FF2B5EF4-FFF2-40B4-BE49-F238E27FC236}">
                    <a16:creationId xmlns:a16="http://schemas.microsoft.com/office/drawing/2014/main" id="{89CF513B-B72E-4830-B4B4-EFAF3A4CAC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29F7348A-D846-4A7B-84FF-B5860DF1D52F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85F835F7-B840-47AB-A1B3-17BE3A5B6CBB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79" name="Gruppieren 78">
              <a:extLst>
                <a:ext uri="{FF2B5EF4-FFF2-40B4-BE49-F238E27FC236}">
                  <a16:creationId xmlns:a16="http://schemas.microsoft.com/office/drawing/2014/main" id="{CD9F2635-2714-451B-B3EC-2CDDDDE763CA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6F05125A-AE71-4489-B42C-56B823A5FEF7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92</a:t>
                </a:r>
              </a:p>
            </p:txBody>
          </p:sp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94B8D4D5-C4A9-4531-8EF2-7DBA992A61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09FDA9E0-86FD-4180-B6B6-C1037A995460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28C14BFC-3126-4072-924E-B0CD7E66FA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225CD528-02F8-458D-AC8C-B407D651922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.40</a:t>
                </a:r>
              </a:p>
            </p:txBody>
          </p:sp>
        </p:grpSp>
        <p:grpSp>
          <p:nvGrpSpPr>
            <p:cNvPr id="81" name="Gruppieren 80">
              <a:extLst>
                <a:ext uri="{FF2B5EF4-FFF2-40B4-BE49-F238E27FC236}">
                  <a16:creationId xmlns:a16="http://schemas.microsoft.com/office/drawing/2014/main" id="{46628741-3FF3-48C4-8A78-528C28C46B2E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92" name="Gerader Verbinder 91">
                <a:extLst>
                  <a:ext uri="{FF2B5EF4-FFF2-40B4-BE49-F238E27FC236}">
                    <a16:creationId xmlns:a16="http://schemas.microsoft.com/office/drawing/2014/main" id="{FF7CD634-2671-47DC-A684-D9B7F3ECEC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260213D2-A004-41CD-97B1-273DC2FCE829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00</a:t>
                </a:r>
              </a:p>
            </p:txBody>
          </p:sp>
        </p:grpSp>
        <p:grpSp>
          <p:nvGrpSpPr>
            <p:cNvPr id="82" name="Gruppieren 81">
              <a:extLst>
                <a:ext uri="{FF2B5EF4-FFF2-40B4-BE49-F238E27FC236}">
                  <a16:creationId xmlns:a16="http://schemas.microsoft.com/office/drawing/2014/main" id="{953DA4E8-5496-4A61-BFC5-F3B23C49B35D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90" name="Gerader Verbinder 89">
                <a:extLst>
                  <a:ext uri="{FF2B5EF4-FFF2-40B4-BE49-F238E27FC236}">
                    <a16:creationId xmlns:a16="http://schemas.microsoft.com/office/drawing/2014/main" id="{111CB93E-7D30-4866-BB78-2BE66CAF02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F712AFB8-35E9-48CB-A3D3-414A85A06375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.60</a:t>
                </a:r>
              </a:p>
            </p:txBody>
          </p:sp>
        </p:grpSp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788084EB-31A7-4A3A-A652-65DD7C8CE915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88" name="Gerader Verbinder 87">
                <a:extLst>
                  <a:ext uri="{FF2B5EF4-FFF2-40B4-BE49-F238E27FC236}">
                    <a16:creationId xmlns:a16="http://schemas.microsoft.com/office/drawing/2014/main" id="{2FFFAE39-7E6A-422B-BF9F-192123EF40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9" name="Textfeld 88">
                <a:extLst>
                  <a:ext uri="{FF2B5EF4-FFF2-40B4-BE49-F238E27FC236}">
                    <a16:creationId xmlns:a16="http://schemas.microsoft.com/office/drawing/2014/main" id="{45325641-A15F-43D5-A0BA-0E7545705EF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.00</a:t>
                </a:r>
              </a:p>
            </p:txBody>
          </p:sp>
        </p:grpSp>
        <p:grpSp>
          <p:nvGrpSpPr>
            <p:cNvPr id="85" name="Gruppieren 84">
              <a:extLst>
                <a:ext uri="{FF2B5EF4-FFF2-40B4-BE49-F238E27FC236}">
                  <a16:creationId xmlns:a16="http://schemas.microsoft.com/office/drawing/2014/main" id="{8982A394-83B7-4E8A-BBE7-797059D2DA27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86" name="Gerader Verbinder 85">
                <a:extLst>
                  <a:ext uri="{FF2B5EF4-FFF2-40B4-BE49-F238E27FC236}">
                    <a16:creationId xmlns:a16="http://schemas.microsoft.com/office/drawing/2014/main" id="{7F71B877-275A-445C-8F5C-EB18E47299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7F5DD554-B779-44BB-8F67-8F28A4AE5F44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70</a:t>
                </a:r>
              </a:p>
            </p:txBody>
          </p:sp>
        </p:grpSp>
      </p:grp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F6ECB980-F81F-75C3-7971-3CB34225F821}"/>
              </a:ext>
            </a:extLst>
          </p:cNvPr>
          <p:cNvSpPr/>
          <p:nvPr userDrawn="1"/>
        </p:nvSpPr>
        <p:spPr>
          <a:xfrm>
            <a:off x="11170444" y="299244"/>
            <a:ext cx="505399" cy="505399"/>
          </a:xfrm>
          <a:custGeom>
            <a:avLst/>
            <a:gdLst>
              <a:gd name="connsiteX0" fmla="*/ 1065181 w 1349978"/>
              <a:gd name="connsiteY0" fmla="*/ 378046 h 1349978"/>
              <a:gd name="connsiteX1" fmla="*/ 1122807 w 1349978"/>
              <a:gd name="connsiteY1" fmla="*/ 529779 h 1349978"/>
              <a:gd name="connsiteX2" fmla="*/ 1190816 w 1349978"/>
              <a:gd name="connsiteY2" fmla="*/ 640841 h 1349978"/>
              <a:gd name="connsiteX3" fmla="*/ 1152716 w 1349978"/>
              <a:gd name="connsiteY3" fmla="*/ 640841 h 1349978"/>
              <a:gd name="connsiteX4" fmla="*/ 1091851 w 1349978"/>
              <a:gd name="connsiteY4" fmla="*/ 576547 h 1349978"/>
              <a:gd name="connsiteX5" fmla="*/ 1060228 w 1349978"/>
              <a:gd name="connsiteY5" fmla="*/ 576547 h 1349978"/>
              <a:gd name="connsiteX6" fmla="*/ 1060228 w 1349978"/>
              <a:gd name="connsiteY6" fmla="*/ 671988 h 1349978"/>
              <a:gd name="connsiteX7" fmla="*/ 1287781 w 1349978"/>
              <a:gd name="connsiteY7" fmla="*/ 671988 h 1349978"/>
              <a:gd name="connsiteX8" fmla="*/ 1226725 w 1349978"/>
              <a:gd name="connsiteY8" fmla="*/ 511777 h 1349978"/>
              <a:gd name="connsiteX9" fmla="*/ 1163289 w 1349978"/>
              <a:gd name="connsiteY9" fmla="*/ 408717 h 1349978"/>
              <a:gd name="connsiteX10" fmla="*/ 1192054 w 1349978"/>
              <a:gd name="connsiteY10" fmla="*/ 408907 h 1349978"/>
              <a:gd name="connsiteX11" fmla="*/ 1192054 w 1349978"/>
              <a:gd name="connsiteY11" fmla="*/ 409002 h 1349978"/>
              <a:gd name="connsiteX12" fmla="*/ 1260444 w 1349978"/>
              <a:gd name="connsiteY12" fmla="*/ 473296 h 1349978"/>
              <a:gd name="connsiteX13" fmla="*/ 1290733 w 1349978"/>
              <a:gd name="connsiteY13" fmla="*/ 473296 h 1349978"/>
              <a:gd name="connsiteX14" fmla="*/ 1290733 w 1349978"/>
              <a:gd name="connsiteY14" fmla="*/ 378046 h 1349978"/>
              <a:gd name="connsiteX15" fmla="*/ 801053 w 1349978"/>
              <a:gd name="connsiteY15" fmla="*/ 378046 h 1349978"/>
              <a:gd name="connsiteX16" fmla="*/ 858679 w 1349978"/>
              <a:gd name="connsiteY16" fmla="*/ 529779 h 1349978"/>
              <a:gd name="connsiteX17" fmla="*/ 926688 w 1349978"/>
              <a:gd name="connsiteY17" fmla="*/ 640841 h 1349978"/>
              <a:gd name="connsiteX18" fmla="*/ 888588 w 1349978"/>
              <a:gd name="connsiteY18" fmla="*/ 640841 h 1349978"/>
              <a:gd name="connsiteX19" fmla="*/ 827723 w 1349978"/>
              <a:gd name="connsiteY19" fmla="*/ 576547 h 1349978"/>
              <a:gd name="connsiteX20" fmla="*/ 796100 w 1349978"/>
              <a:gd name="connsiteY20" fmla="*/ 576547 h 1349978"/>
              <a:gd name="connsiteX21" fmla="*/ 796100 w 1349978"/>
              <a:gd name="connsiteY21" fmla="*/ 671988 h 1349978"/>
              <a:gd name="connsiteX22" fmla="*/ 1023652 w 1349978"/>
              <a:gd name="connsiteY22" fmla="*/ 671988 h 1349978"/>
              <a:gd name="connsiteX23" fmla="*/ 962597 w 1349978"/>
              <a:gd name="connsiteY23" fmla="*/ 511777 h 1349978"/>
              <a:gd name="connsiteX24" fmla="*/ 899161 w 1349978"/>
              <a:gd name="connsiteY24" fmla="*/ 408717 h 1349978"/>
              <a:gd name="connsiteX25" fmla="*/ 927926 w 1349978"/>
              <a:gd name="connsiteY25" fmla="*/ 408907 h 1349978"/>
              <a:gd name="connsiteX26" fmla="*/ 927926 w 1349978"/>
              <a:gd name="connsiteY26" fmla="*/ 409002 h 1349978"/>
              <a:gd name="connsiteX27" fmla="*/ 996316 w 1349978"/>
              <a:gd name="connsiteY27" fmla="*/ 473296 h 1349978"/>
              <a:gd name="connsiteX28" fmla="*/ 1026891 w 1349978"/>
              <a:gd name="connsiteY28" fmla="*/ 473296 h 1349978"/>
              <a:gd name="connsiteX29" fmla="*/ 1026891 w 1349978"/>
              <a:gd name="connsiteY29" fmla="*/ 378046 h 1349978"/>
              <a:gd name="connsiteX30" fmla="*/ 606933 w 1349978"/>
              <a:gd name="connsiteY30" fmla="*/ 378046 h 1349978"/>
              <a:gd name="connsiteX31" fmla="*/ 606933 w 1349978"/>
              <a:gd name="connsiteY31" fmla="*/ 409193 h 1349978"/>
              <a:gd name="connsiteX32" fmla="*/ 614077 w 1349978"/>
              <a:gd name="connsiteY32" fmla="*/ 409193 h 1349978"/>
              <a:gd name="connsiteX33" fmla="*/ 637889 w 1349978"/>
              <a:gd name="connsiteY33" fmla="*/ 432815 h 1349978"/>
              <a:gd name="connsiteX34" fmla="*/ 637889 w 1349978"/>
              <a:gd name="connsiteY34" fmla="*/ 617028 h 1349978"/>
              <a:gd name="connsiteX35" fmla="*/ 614077 w 1349978"/>
              <a:gd name="connsiteY35" fmla="*/ 640650 h 1349978"/>
              <a:gd name="connsiteX36" fmla="*/ 606933 w 1349978"/>
              <a:gd name="connsiteY36" fmla="*/ 640650 h 1349978"/>
              <a:gd name="connsiteX37" fmla="*/ 606933 w 1349978"/>
              <a:gd name="connsiteY37" fmla="*/ 671797 h 1349978"/>
              <a:gd name="connsiteX38" fmla="*/ 763429 w 1349978"/>
              <a:gd name="connsiteY38" fmla="*/ 671797 h 1349978"/>
              <a:gd name="connsiteX39" fmla="*/ 763429 w 1349978"/>
              <a:gd name="connsiteY39" fmla="*/ 640650 h 1349978"/>
              <a:gd name="connsiteX40" fmla="*/ 756285 w 1349978"/>
              <a:gd name="connsiteY40" fmla="*/ 640650 h 1349978"/>
              <a:gd name="connsiteX41" fmla="*/ 732663 w 1349978"/>
              <a:gd name="connsiteY41" fmla="*/ 617028 h 1349978"/>
              <a:gd name="connsiteX42" fmla="*/ 732663 w 1349978"/>
              <a:gd name="connsiteY42" fmla="*/ 432815 h 1349978"/>
              <a:gd name="connsiteX43" fmla="*/ 756285 w 1349978"/>
              <a:gd name="connsiteY43" fmla="*/ 409193 h 1349978"/>
              <a:gd name="connsiteX44" fmla="*/ 763429 w 1349978"/>
              <a:gd name="connsiteY44" fmla="*/ 409193 h 1349978"/>
              <a:gd name="connsiteX45" fmla="*/ 763429 w 1349978"/>
              <a:gd name="connsiteY45" fmla="*/ 378046 h 1349978"/>
              <a:gd name="connsiteX46" fmla="*/ 325470 w 1349978"/>
              <a:gd name="connsiteY46" fmla="*/ 378046 h 1349978"/>
              <a:gd name="connsiteX47" fmla="*/ 325470 w 1349978"/>
              <a:gd name="connsiteY47" fmla="*/ 409383 h 1349978"/>
              <a:gd name="connsiteX48" fmla="*/ 332614 w 1349978"/>
              <a:gd name="connsiteY48" fmla="*/ 409383 h 1349978"/>
              <a:gd name="connsiteX49" fmla="*/ 356236 w 1349978"/>
              <a:gd name="connsiteY49" fmla="*/ 433005 h 1349978"/>
              <a:gd name="connsiteX50" fmla="*/ 356236 w 1349978"/>
              <a:gd name="connsiteY50" fmla="*/ 617219 h 1349978"/>
              <a:gd name="connsiteX51" fmla="*/ 332614 w 1349978"/>
              <a:gd name="connsiteY51" fmla="*/ 640841 h 1349978"/>
              <a:gd name="connsiteX52" fmla="*/ 325470 w 1349978"/>
              <a:gd name="connsiteY52" fmla="*/ 640841 h 1349978"/>
              <a:gd name="connsiteX53" fmla="*/ 325470 w 1349978"/>
              <a:gd name="connsiteY53" fmla="*/ 671988 h 1349978"/>
              <a:gd name="connsiteX54" fmla="*/ 574453 w 1349978"/>
              <a:gd name="connsiteY54" fmla="*/ 672178 h 1349978"/>
              <a:gd name="connsiteX55" fmla="*/ 574453 w 1349978"/>
              <a:gd name="connsiteY55" fmla="*/ 672083 h 1349978"/>
              <a:gd name="connsiteX56" fmla="*/ 574453 w 1349978"/>
              <a:gd name="connsiteY56" fmla="*/ 576642 h 1349978"/>
              <a:gd name="connsiteX57" fmla="*/ 542831 w 1349978"/>
              <a:gd name="connsiteY57" fmla="*/ 576642 h 1349978"/>
              <a:gd name="connsiteX58" fmla="*/ 481966 w 1349978"/>
              <a:gd name="connsiteY58" fmla="*/ 640936 h 1349978"/>
              <a:gd name="connsiteX59" fmla="*/ 450343 w 1349978"/>
              <a:gd name="connsiteY59" fmla="*/ 640936 h 1349978"/>
              <a:gd name="connsiteX60" fmla="*/ 450343 w 1349978"/>
              <a:gd name="connsiteY60" fmla="*/ 540733 h 1349978"/>
              <a:gd name="connsiteX61" fmla="*/ 461582 w 1349978"/>
              <a:gd name="connsiteY61" fmla="*/ 540733 h 1349978"/>
              <a:gd name="connsiteX62" fmla="*/ 485395 w 1349978"/>
              <a:gd name="connsiteY62" fmla="*/ 564546 h 1349978"/>
              <a:gd name="connsiteX63" fmla="*/ 485395 w 1349978"/>
              <a:gd name="connsiteY63" fmla="*/ 576452 h 1349978"/>
              <a:gd name="connsiteX64" fmla="*/ 516541 w 1349978"/>
              <a:gd name="connsiteY64" fmla="*/ 576452 h 1349978"/>
              <a:gd name="connsiteX65" fmla="*/ 516541 w 1349978"/>
              <a:gd name="connsiteY65" fmla="*/ 473677 h 1349978"/>
              <a:gd name="connsiteX66" fmla="*/ 485395 w 1349978"/>
              <a:gd name="connsiteY66" fmla="*/ 473677 h 1349978"/>
              <a:gd name="connsiteX67" fmla="*/ 485395 w 1349978"/>
              <a:gd name="connsiteY67" fmla="*/ 485583 h 1349978"/>
              <a:gd name="connsiteX68" fmla="*/ 461582 w 1349978"/>
              <a:gd name="connsiteY68" fmla="*/ 509396 h 1349978"/>
              <a:gd name="connsiteX69" fmla="*/ 450343 w 1349978"/>
              <a:gd name="connsiteY69" fmla="*/ 509396 h 1349978"/>
              <a:gd name="connsiteX70" fmla="*/ 450343 w 1349978"/>
              <a:gd name="connsiteY70" fmla="*/ 409193 h 1349978"/>
              <a:gd name="connsiteX71" fmla="*/ 481966 w 1349978"/>
              <a:gd name="connsiteY71" fmla="*/ 409193 h 1349978"/>
              <a:gd name="connsiteX72" fmla="*/ 542831 w 1349978"/>
              <a:gd name="connsiteY72" fmla="*/ 473487 h 1349978"/>
              <a:gd name="connsiteX73" fmla="*/ 574453 w 1349978"/>
              <a:gd name="connsiteY73" fmla="*/ 473487 h 1349978"/>
              <a:gd name="connsiteX74" fmla="*/ 574453 w 1349978"/>
              <a:gd name="connsiteY74" fmla="*/ 378046 h 1349978"/>
              <a:gd name="connsiteX75" fmla="*/ 62866 w 1349978"/>
              <a:gd name="connsiteY75" fmla="*/ 378046 h 1349978"/>
              <a:gd name="connsiteX76" fmla="*/ 62866 w 1349978"/>
              <a:gd name="connsiteY76" fmla="*/ 473296 h 1349978"/>
              <a:gd name="connsiteX77" fmla="*/ 93155 w 1349978"/>
              <a:gd name="connsiteY77" fmla="*/ 473296 h 1349978"/>
              <a:gd name="connsiteX78" fmla="*/ 161735 w 1349978"/>
              <a:gd name="connsiteY78" fmla="*/ 409002 h 1349978"/>
              <a:gd name="connsiteX79" fmla="*/ 161735 w 1349978"/>
              <a:gd name="connsiteY79" fmla="*/ 408907 h 1349978"/>
              <a:gd name="connsiteX80" fmla="*/ 190310 w 1349978"/>
              <a:gd name="connsiteY80" fmla="*/ 408717 h 1349978"/>
              <a:gd name="connsiteX81" fmla="*/ 126874 w 1349978"/>
              <a:gd name="connsiteY81" fmla="*/ 511777 h 1349978"/>
              <a:gd name="connsiteX82" fmla="*/ 52007 w 1349978"/>
              <a:gd name="connsiteY82" fmla="*/ 671988 h 1349978"/>
              <a:gd name="connsiteX83" fmla="*/ 293371 w 1349978"/>
              <a:gd name="connsiteY83" fmla="*/ 671988 h 1349978"/>
              <a:gd name="connsiteX84" fmla="*/ 293371 w 1349978"/>
              <a:gd name="connsiteY84" fmla="*/ 576547 h 1349978"/>
              <a:gd name="connsiteX85" fmla="*/ 261748 w 1349978"/>
              <a:gd name="connsiteY85" fmla="*/ 576547 h 1349978"/>
              <a:gd name="connsiteX86" fmla="*/ 201169 w 1349978"/>
              <a:gd name="connsiteY86" fmla="*/ 640841 h 1349978"/>
              <a:gd name="connsiteX87" fmla="*/ 162878 w 1349978"/>
              <a:gd name="connsiteY87" fmla="*/ 640841 h 1349978"/>
              <a:gd name="connsiteX88" fmla="*/ 231077 w 1349978"/>
              <a:gd name="connsiteY88" fmla="*/ 529779 h 1349978"/>
              <a:gd name="connsiteX89" fmla="*/ 299086 w 1349978"/>
              <a:gd name="connsiteY89" fmla="*/ 378046 h 1349978"/>
              <a:gd name="connsiteX90" fmla="*/ 0 w 1349978"/>
              <a:gd name="connsiteY90" fmla="*/ 0 h 1349978"/>
              <a:gd name="connsiteX91" fmla="*/ 1349978 w 1349978"/>
              <a:gd name="connsiteY91" fmla="*/ 0 h 1349978"/>
              <a:gd name="connsiteX92" fmla="*/ 1349788 w 1349978"/>
              <a:gd name="connsiteY92" fmla="*/ 1349978 h 1349978"/>
              <a:gd name="connsiteX93" fmla="*/ 675037 w 1349978"/>
              <a:gd name="connsiteY93" fmla="*/ 1205389 h 1349978"/>
              <a:gd name="connsiteX94" fmla="*/ 0 w 1349978"/>
              <a:gd name="connsiteY94" fmla="*/ 1349978 h 1349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349978" h="1349978">
                <a:moveTo>
                  <a:pt x="1065181" y="378046"/>
                </a:moveTo>
                <a:cubicBezTo>
                  <a:pt x="1065181" y="378046"/>
                  <a:pt x="1029462" y="424814"/>
                  <a:pt x="1122807" y="529779"/>
                </a:cubicBezTo>
                <a:cubicBezTo>
                  <a:pt x="1122807" y="529779"/>
                  <a:pt x="1189006" y="607027"/>
                  <a:pt x="1190816" y="640841"/>
                </a:cubicBezTo>
                <a:lnTo>
                  <a:pt x="1152716" y="640841"/>
                </a:lnTo>
                <a:cubicBezTo>
                  <a:pt x="1097757" y="640841"/>
                  <a:pt x="1091851" y="576547"/>
                  <a:pt x="1091851" y="576547"/>
                </a:cubicBezTo>
                <a:lnTo>
                  <a:pt x="1060228" y="576547"/>
                </a:lnTo>
                <a:lnTo>
                  <a:pt x="1060228" y="671988"/>
                </a:lnTo>
                <a:lnTo>
                  <a:pt x="1287781" y="671988"/>
                </a:lnTo>
                <a:cubicBezTo>
                  <a:pt x="1287781" y="671988"/>
                  <a:pt x="1329119" y="627411"/>
                  <a:pt x="1226725" y="511777"/>
                </a:cubicBezTo>
                <a:cubicBezTo>
                  <a:pt x="1226725" y="511777"/>
                  <a:pt x="1173004" y="456627"/>
                  <a:pt x="1163289" y="408717"/>
                </a:cubicBezTo>
                <a:lnTo>
                  <a:pt x="1192054" y="408907"/>
                </a:lnTo>
                <a:lnTo>
                  <a:pt x="1192054" y="409002"/>
                </a:lnTo>
                <a:cubicBezTo>
                  <a:pt x="1255300" y="409002"/>
                  <a:pt x="1260444" y="473296"/>
                  <a:pt x="1260444" y="473296"/>
                </a:cubicBezTo>
                <a:lnTo>
                  <a:pt x="1290733" y="473296"/>
                </a:lnTo>
                <a:lnTo>
                  <a:pt x="1290733" y="378046"/>
                </a:lnTo>
                <a:close/>
                <a:moveTo>
                  <a:pt x="801053" y="378046"/>
                </a:moveTo>
                <a:cubicBezTo>
                  <a:pt x="801053" y="378046"/>
                  <a:pt x="765334" y="424814"/>
                  <a:pt x="858679" y="529779"/>
                </a:cubicBezTo>
                <a:cubicBezTo>
                  <a:pt x="858679" y="529779"/>
                  <a:pt x="924878" y="607027"/>
                  <a:pt x="926688" y="640841"/>
                </a:cubicBezTo>
                <a:lnTo>
                  <a:pt x="888588" y="640841"/>
                </a:lnTo>
                <a:cubicBezTo>
                  <a:pt x="833629" y="640841"/>
                  <a:pt x="827723" y="576547"/>
                  <a:pt x="827723" y="576547"/>
                </a:cubicBezTo>
                <a:lnTo>
                  <a:pt x="796100" y="576547"/>
                </a:lnTo>
                <a:lnTo>
                  <a:pt x="796100" y="671988"/>
                </a:lnTo>
                <a:lnTo>
                  <a:pt x="1023652" y="671988"/>
                </a:lnTo>
                <a:cubicBezTo>
                  <a:pt x="1023652" y="671988"/>
                  <a:pt x="1064991" y="627411"/>
                  <a:pt x="962597" y="511777"/>
                </a:cubicBezTo>
                <a:cubicBezTo>
                  <a:pt x="962597" y="511777"/>
                  <a:pt x="908876" y="456627"/>
                  <a:pt x="899161" y="408717"/>
                </a:cubicBezTo>
                <a:lnTo>
                  <a:pt x="927926" y="408907"/>
                </a:lnTo>
                <a:lnTo>
                  <a:pt x="927926" y="409002"/>
                </a:lnTo>
                <a:cubicBezTo>
                  <a:pt x="991363" y="409002"/>
                  <a:pt x="996316" y="473296"/>
                  <a:pt x="996316" y="473296"/>
                </a:cubicBezTo>
                <a:lnTo>
                  <a:pt x="1026891" y="473296"/>
                </a:lnTo>
                <a:lnTo>
                  <a:pt x="1026891" y="378046"/>
                </a:lnTo>
                <a:close/>
                <a:moveTo>
                  <a:pt x="606933" y="378046"/>
                </a:moveTo>
                <a:lnTo>
                  <a:pt x="606933" y="409193"/>
                </a:lnTo>
                <a:lnTo>
                  <a:pt x="614077" y="409193"/>
                </a:lnTo>
                <a:cubicBezTo>
                  <a:pt x="627316" y="409193"/>
                  <a:pt x="637889" y="419766"/>
                  <a:pt x="637889" y="432815"/>
                </a:cubicBezTo>
                <a:lnTo>
                  <a:pt x="637889" y="617028"/>
                </a:lnTo>
                <a:cubicBezTo>
                  <a:pt x="637889" y="629982"/>
                  <a:pt x="627316" y="640650"/>
                  <a:pt x="614077" y="640650"/>
                </a:cubicBezTo>
                <a:lnTo>
                  <a:pt x="606933" y="640650"/>
                </a:lnTo>
                <a:lnTo>
                  <a:pt x="606933" y="671797"/>
                </a:lnTo>
                <a:lnTo>
                  <a:pt x="763429" y="671797"/>
                </a:lnTo>
                <a:lnTo>
                  <a:pt x="763429" y="640650"/>
                </a:lnTo>
                <a:lnTo>
                  <a:pt x="756285" y="640650"/>
                </a:lnTo>
                <a:cubicBezTo>
                  <a:pt x="743331" y="640650"/>
                  <a:pt x="732663" y="629982"/>
                  <a:pt x="732663" y="617028"/>
                </a:cubicBezTo>
                <a:lnTo>
                  <a:pt x="732663" y="432815"/>
                </a:lnTo>
                <a:cubicBezTo>
                  <a:pt x="732663" y="419861"/>
                  <a:pt x="743236" y="409193"/>
                  <a:pt x="756285" y="409193"/>
                </a:cubicBezTo>
                <a:lnTo>
                  <a:pt x="763429" y="409193"/>
                </a:lnTo>
                <a:lnTo>
                  <a:pt x="763429" y="378046"/>
                </a:lnTo>
                <a:close/>
                <a:moveTo>
                  <a:pt x="325470" y="378046"/>
                </a:moveTo>
                <a:lnTo>
                  <a:pt x="325470" y="409383"/>
                </a:lnTo>
                <a:lnTo>
                  <a:pt x="332614" y="409383"/>
                </a:lnTo>
                <a:cubicBezTo>
                  <a:pt x="345568" y="409383"/>
                  <a:pt x="356236" y="420051"/>
                  <a:pt x="356236" y="433005"/>
                </a:cubicBezTo>
                <a:lnTo>
                  <a:pt x="356236" y="617219"/>
                </a:lnTo>
                <a:cubicBezTo>
                  <a:pt x="356236" y="630173"/>
                  <a:pt x="345663" y="640841"/>
                  <a:pt x="332614" y="640841"/>
                </a:cubicBezTo>
                <a:lnTo>
                  <a:pt x="325470" y="640841"/>
                </a:lnTo>
                <a:lnTo>
                  <a:pt x="325470" y="671988"/>
                </a:lnTo>
                <a:lnTo>
                  <a:pt x="574453" y="672178"/>
                </a:lnTo>
                <a:lnTo>
                  <a:pt x="574453" y="672083"/>
                </a:lnTo>
                <a:lnTo>
                  <a:pt x="574453" y="576642"/>
                </a:lnTo>
                <a:lnTo>
                  <a:pt x="542831" y="576642"/>
                </a:lnTo>
                <a:cubicBezTo>
                  <a:pt x="542831" y="576642"/>
                  <a:pt x="537020" y="640936"/>
                  <a:pt x="481966" y="640936"/>
                </a:cubicBezTo>
                <a:lnTo>
                  <a:pt x="450343" y="640936"/>
                </a:lnTo>
                <a:lnTo>
                  <a:pt x="450343" y="540733"/>
                </a:lnTo>
                <a:lnTo>
                  <a:pt x="461582" y="540733"/>
                </a:lnTo>
                <a:cubicBezTo>
                  <a:pt x="474822" y="540733"/>
                  <a:pt x="485395" y="551401"/>
                  <a:pt x="485395" y="564546"/>
                </a:cubicBezTo>
                <a:lnTo>
                  <a:pt x="485395" y="576452"/>
                </a:lnTo>
                <a:lnTo>
                  <a:pt x="516541" y="576452"/>
                </a:lnTo>
                <a:lnTo>
                  <a:pt x="516541" y="473677"/>
                </a:lnTo>
                <a:lnTo>
                  <a:pt x="485395" y="473677"/>
                </a:lnTo>
                <a:lnTo>
                  <a:pt x="485395" y="485583"/>
                </a:lnTo>
                <a:cubicBezTo>
                  <a:pt x="485395" y="498823"/>
                  <a:pt x="474822" y="509396"/>
                  <a:pt x="461582" y="509396"/>
                </a:cubicBezTo>
                <a:lnTo>
                  <a:pt x="450343" y="509396"/>
                </a:lnTo>
                <a:lnTo>
                  <a:pt x="450343" y="409193"/>
                </a:lnTo>
                <a:lnTo>
                  <a:pt x="481966" y="409193"/>
                </a:lnTo>
                <a:cubicBezTo>
                  <a:pt x="536925" y="409193"/>
                  <a:pt x="542831" y="473487"/>
                  <a:pt x="542831" y="473487"/>
                </a:cubicBezTo>
                <a:lnTo>
                  <a:pt x="574453" y="473487"/>
                </a:lnTo>
                <a:lnTo>
                  <a:pt x="574453" y="378046"/>
                </a:lnTo>
                <a:close/>
                <a:moveTo>
                  <a:pt x="62866" y="378046"/>
                </a:moveTo>
                <a:lnTo>
                  <a:pt x="62866" y="473296"/>
                </a:lnTo>
                <a:lnTo>
                  <a:pt x="93155" y="473296"/>
                </a:lnTo>
                <a:cubicBezTo>
                  <a:pt x="93155" y="473296"/>
                  <a:pt x="98299" y="409002"/>
                  <a:pt x="161735" y="409002"/>
                </a:cubicBezTo>
                <a:lnTo>
                  <a:pt x="161735" y="408907"/>
                </a:lnTo>
                <a:lnTo>
                  <a:pt x="190310" y="408717"/>
                </a:lnTo>
                <a:cubicBezTo>
                  <a:pt x="178404" y="454246"/>
                  <a:pt x="126874" y="511777"/>
                  <a:pt x="126874" y="511777"/>
                </a:cubicBezTo>
                <a:cubicBezTo>
                  <a:pt x="43149" y="599693"/>
                  <a:pt x="52007" y="671988"/>
                  <a:pt x="52007" y="671988"/>
                </a:cubicBezTo>
                <a:lnTo>
                  <a:pt x="293371" y="671988"/>
                </a:lnTo>
                <a:lnTo>
                  <a:pt x="293371" y="576547"/>
                </a:lnTo>
                <a:lnTo>
                  <a:pt x="261748" y="576547"/>
                </a:lnTo>
                <a:cubicBezTo>
                  <a:pt x="261748" y="576547"/>
                  <a:pt x="256128" y="640841"/>
                  <a:pt x="201169" y="640841"/>
                </a:cubicBezTo>
                <a:lnTo>
                  <a:pt x="162878" y="640841"/>
                </a:lnTo>
                <a:cubicBezTo>
                  <a:pt x="164593" y="607027"/>
                  <a:pt x="231077" y="529779"/>
                  <a:pt x="231077" y="529779"/>
                </a:cubicBezTo>
                <a:cubicBezTo>
                  <a:pt x="300991" y="451674"/>
                  <a:pt x="299086" y="378046"/>
                  <a:pt x="299086" y="378046"/>
                </a:cubicBezTo>
                <a:close/>
                <a:moveTo>
                  <a:pt x="0" y="0"/>
                </a:moveTo>
                <a:lnTo>
                  <a:pt x="1349978" y="0"/>
                </a:lnTo>
                <a:lnTo>
                  <a:pt x="1349788" y="1349978"/>
                </a:lnTo>
                <a:cubicBezTo>
                  <a:pt x="1143953" y="1257110"/>
                  <a:pt x="915543" y="1205389"/>
                  <a:pt x="675037" y="1205389"/>
                </a:cubicBezTo>
                <a:cubicBezTo>
                  <a:pt x="434530" y="1205389"/>
                  <a:pt x="205835" y="1257110"/>
                  <a:pt x="0" y="1349978"/>
                </a:cubicBezTo>
                <a:close/>
              </a:path>
            </a:pathLst>
          </a:custGeom>
          <a:solidFill>
            <a:srgbClr val="0F2DB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20643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2x photo, 2x text - next to each ot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42844" y="4006299"/>
            <a:ext cx="5433219" cy="2086521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73FBE26-823C-44A4-9918-6F7FC142C36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318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870DAB1F-D24A-4A98-83A6-AFA36A6FC73E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6242844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A7040DB9-A329-4F37-A50E-67E566A8CCC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18318" y="4006299"/>
            <a:ext cx="5433219" cy="2086521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FC9287A-CD69-44F6-863F-D2F4B62FB05B}"/>
              </a:ext>
            </a:extLst>
          </p:cNvPr>
          <p:cNvSpPr>
            <a:spLocks noGrp="1"/>
          </p:cNvSpPr>
          <p:nvPr>
            <p:ph type="dt" sz="half" idx="75"/>
          </p:nvPr>
        </p:nvSpPr>
        <p:spPr/>
        <p:txBody>
          <a:bodyPr/>
          <a:lstStyle/>
          <a:p>
            <a:fld id="{22A57775-4A1E-46D2-BDD1-8DB2F8E837CE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6BBE43D-62FE-4990-B23B-4C909E75B1C9}"/>
              </a:ext>
            </a:extLst>
          </p:cNvPr>
          <p:cNvSpPr>
            <a:spLocks noGrp="1"/>
          </p:cNvSpPr>
          <p:nvPr>
            <p:ph type="ftr" sz="quarter" idx="76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E033AB9-360F-42F9-BD07-EADE8FDD01FA}"/>
              </a:ext>
            </a:extLst>
          </p:cNvPr>
          <p:cNvSpPr>
            <a:spLocks noGrp="1"/>
          </p:cNvSpPr>
          <p:nvPr>
            <p:ph type="sldNum" sz="quarter" idx="77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566376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only | free choice of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5D2E05C-DF1C-4C7B-B878-BC14435387A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F9BA8E-4825-48A6-A582-4216864907D7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72076A3-DEA6-4B13-9AAD-70073C46D293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C4A35DA-5FD7-43D7-B4DF-9C598553FEFF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895943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39D9F1EE-5469-436B-B6FD-BD7093E16120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A20FA61A-C25D-4B6B-8A62-8E2D7978A7B8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7" name="Gerader Verbinder 66">
                <a:extLst>
                  <a:ext uri="{FF2B5EF4-FFF2-40B4-BE49-F238E27FC236}">
                    <a16:creationId xmlns:a16="http://schemas.microsoft.com/office/drawing/2014/main" id="{47E541F9-957E-4CA5-8C23-AA7343EEA7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239BB221-62CD-4E4C-B9F1-3C664538F707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  <p:grpSp>
          <p:nvGrpSpPr>
            <p:cNvPr id="56" name="Gruppieren 55">
              <a:extLst>
                <a:ext uri="{FF2B5EF4-FFF2-40B4-BE49-F238E27FC236}">
                  <a16:creationId xmlns:a16="http://schemas.microsoft.com/office/drawing/2014/main" id="{B14E815F-3FD4-4DFC-9BFA-C33AA5D18C1E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5" name="Gerader Verbinder 64">
                <a:extLst>
                  <a:ext uri="{FF2B5EF4-FFF2-40B4-BE49-F238E27FC236}">
                    <a16:creationId xmlns:a16="http://schemas.microsoft.com/office/drawing/2014/main" id="{741BAD09-A2C9-4AE4-8A82-255F8EA71B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074B4C50-32F6-4707-B9DB-1E7FAF559D77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BD4CAED8-A63D-41A6-B258-EE43C87DCA81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63" name="Gerader Verbinder 62">
                <a:extLst>
                  <a:ext uri="{FF2B5EF4-FFF2-40B4-BE49-F238E27FC236}">
                    <a16:creationId xmlns:a16="http://schemas.microsoft.com/office/drawing/2014/main" id="{D39E2769-C859-4CBA-A055-9C13A3B0BCF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E412712A-69EA-45B9-AF9B-C8AA7DAAEA20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AA4C83C0-D56E-4002-9981-0CD08706F1E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07F2B5B1-F03A-45D9-9970-B21C134F03FF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1" name="Gerader Verbinder 60">
                <a:extLst>
                  <a:ext uri="{FF2B5EF4-FFF2-40B4-BE49-F238E27FC236}">
                    <a16:creationId xmlns:a16="http://schemas.microsoft.com/office/drawing/2014/main" id="{C8CC48FA-EDBD-4970-90FD-1B63014723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Textfeld 61">
                <a:extLst>
                  <a:ext uri="{FF2B5EF4-FFF2-40B4-BE49-F238E27FC236}">
                    <a16:creationId xmlns:a16="http://schemas.microsoft.com/office/drawing/2014/main" id="{CF51976A-99FF-4C02-966F-A844870302F6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9822BDDA-FFB6-4151-9F6A-21339FB17D06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42E651D2-A86B-4865-9091-E5A2723E842C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6C7BD123-9109-4729-A470-B8EE4CF9391F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92</a:t>
                </a:r>
              </a:p>
            </p:txBody>
          </p:sp>
          <p:cxnSp>
            <p:nvCxnSpPr>
              <p:cNvPr id="89" name="Gerader Verbinder 88">
                <a:extLst>
                  <a:ext uri="{FF2B5EF4-FFF2-40B4-BE49-F238E27FC236}">
                    <a16:creationId xmlns:a16="http://schemas.microsoft.com/office/drawing/2014/main" id="{5F424E7D-5F74-48CC-96BA-3FF16BD6E1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9B589752-3D72-4CB2-9DDE-891F3C480BF3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86" name="Gerader Verbinder 85">
                <a:extLst>
                  <a:ext uri="{FF2B5EF4-FFF2-40B4-BE49-F238E27FC236}">
                    <a16:creationId xmlns:a16="http://schemas.microsoft.com/office/drawing/2014/main" id="{EF18B92C-235F-47B1-BC0F-5A2E5A900A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5CC7113B-94DC-4CDF-B563-53198D764369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.40</a:t>
                </a:r>
              </a:p>
            </p:txBody>
          </p:sp>
        </p:grpSp>
        <p:grpSp>
          <p:nvGrpSpPr>
            <p:cNvPr id="72" name="Gruppieren 71">
              <a:extLst>
                <a:ext uri="{FF2B5EF4-FFF2-40B4-BE49-F238E27FC236}">
                  <a16:creationId xmlns:a16="http://schemas.microsoft.com/office/drawing/2014/main" id="{14ACF831-08AE-48A2-9E29-E74FE2796AF9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84" name="Gerader Verbinder 83">
                <a:extLst>
                  <a:ext uri="{FF2B5EF4-FFF2-40B4-BE49-F238E27FC236}">
                    <a16:creationId xmlns:a16="http://schemas.microsoft.com/office/drawing/2014/main" id="{9C65C0D1-04FE-4719-ABDF-020405CC84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E4D054E0-452E-4349-B1B6-3C4E048FD3C7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00</a:t>
                </a:r>
              </a:p>
            </p:txBody>
          </p:sp>
        </p:grp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9003178A-DE83-471E-97EB-710BA1B82A10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565CB5B8-8C91-4217-B5FF-08A8349642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2B01466E-641C-4A41-A767-69FF26129E38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.60</a:t>
                </a:r>
              </a:p>
            </p:txBody>
          </p:sp>
        </p:grpSp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DD6B9B7C-9A17-46DC-B50D-BC2A06C0DF03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117CA6B2-C761-47C1-8CF9-B2C45C9760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AD89420E-7BD9-4108-B9CC-B84D331C162C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.00</a:t>
                </a:r>
              </a:p>
            </p:txBody>
          </p:sp>
        </p:grpSp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163FC54C-A167-494B-9F4A-058AADC8B83E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1FC525F1-A992-4FA6-8040-8B6AAA6C8D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9AA31042-65E5-4306-B96F-79C6151451B9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70</a:t>
                </a:r>
              </a:p>
            </p:txBody>
          </p:sp>
        </p:grp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39A20E0-180A-82B6-79A2-4606DB5E07FF}"/>
              </a:ext>
            </a:extLst>
          </p:cNvPr>
          <p:cNvGrpSpPr/>
          <p:nvPr userDrawn="1"/>
        </p:nvGrpSpPr>
        <p:grpSpPr>
          <a:xfrm>
            <a:off x="5024731" y="2271830"/>
            <a:ext cx="2142538" cy="2169997"/>
            <a:chOff x="1712286" y="2401538"/>
            <a:chExt cx="2028921" cy="2054924"/>
          </a:xfrm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11850795-3FD6-C0DF-2F71-9552D153F56B}"/>
                </a:ext>
              </a:extLst>
            </p:cNvPr>
            <p:cNvSpPr/>
            <p:nvPr/>
          </p:nvSpPr>
          <p:spPr>
            <a:xfrm>
              <a:off x="2052519" y="2401538"/>
              <a:ext cx="1349978" cy="1349978"/>
            </a:xfrm>
            <a:custGeom>
              <a:avLst/>
              <a:gdLst>
                <a:gd name="connsiteX0" fmla="*/ 1063275 w 1349978"/>
                <a:gd name="connsiteY0" fmla="*/ 381000 h 1349978"/>
                <a:gd name="connsiteX1" fmla="*/ 1120901 w 1349978"/>
                <a:gd name="connsiteY1" fmla="*/ 532733 h 1349978"/>
                <a:gd name="connsiteX2" fmla="*/ 1188910 w 1349978"/>
                <a:gd name="connsiteY2" fmla="*/ 643795 h 1349978"/>
                <a:gd name="connsiteX3" fmla="*/ 1150810 w 1349978"/>
                <a:gd name="connsiteY3" fmla="*/ 643795 h 1349978"/>
                <a:gd name="connsiteX4" fmla="*/ 1089945 w 1349978"/>
                <a:gd name="connsiteY4" fmla="*/ 579501 h 1349978"/>
                <a:gd name="connsiteX5" fmla="*/ 1058322 w 1349978"/>
                <a:gd name="connsiteY5" fmla="*/ 579501 h 1349978"/>
                <a:gd name="connsiteX6" fmla="*/ 1058322 w 1349978"/>
                <a:gd name="connsiteY6" fmla="*/ 674941 h 1349978"/>
                <a:gd name="connsiteX7" fmla="*/ 1285874 w 1349978"/>
                <a:gd name="connsiteY7" fmla="*/ 674941 h 1349978"/>
                <a:gd name="connsiteX8" fmla="*/ 1224819 w 1349978"/>
                <a:gd name="connsiteY8" fmla="*/ 514731 h 1349978"/>
                <a:gd name="connsiteX9" fmla="*/ 1161383 w 1349978"/>
                <a:gd name="connsiteY9" fmla="*/ 411670 h 1349978"/>
                <a:gd name="connsiteX10" fmla="*/ 1190148 w 1349978"/>
                <a:gd name="connsiteY10" fmla="*/ 411956 h 1349978"/>
                <a:gd name="connsiteX11" fmla="*/ 1258538 w 1349978"/>
                <a:gd name="connsiteY11" fmla="*/ 476250 h 1349978"/>
                <a:gd name="connsiteX12" fmla="*/ 1288827 w 1349978"/>
                <a:gd name="connsiteY12" fmla="*/ 476250 h 1349978"/>
                <a:gd name="connsiteX13" fmla="*/ 1288827 w 1349978"/>
                <a:gd name="connsiteY13" fmla="*/ 381000 h 1349978"/>
                <a:gd name="connsiteX14" fmla="*/ 799242 w 1349978"/>
                <a:gd name="connsiteY14" fmla="*/ 381000 h 1349978"/>
                <a:gd name="connsiteX15" fmla="*/ 856868 w 1349978"/>
                <a:gd name="connsiteY15" fmla="*/ 532733 h 1349978"/>
                <a:gd name="connsiteX16" fmla="*/ 924877 w 1349978"/>
                <a:gd name="connsiteY16" fmla="*/ 643795 h 1349978"/>
                <a:gd name="connsiteX17" fmla="*/ 886777 w 1349978"/>
                <a:gd name="connsiteY17" fmla="*/ 643795 h 1349978"/>
                <a:gd name="connsiteX18" fmla="*/ 825912 w 1349978"/>
                <a:gd name="connsiteY18" fmla="*/ 579501 h 1349978"/>
                <a:gd name="connsiteX19" fmla="*/ 794289 w 1349978"/>
                <a:gd name="connsiteY19" fmla="*/ 579501 h 1349978"/>
                <a:gd name="connsiteX20" fmla="*/ 794289 w 1349978"/>
                <a:gd name="connsiteY20" fmla="*/ 674941 h 1349978"/>
                <a:gd name="connsiteX21" fmla="*/ 1021841 w 1349978"/>
                <a:gd name="connsiteY21" fmla="*/ 674941 h 1349978"/>
                <a:gd name="connsiteX22" fmla="*/ 960786 w 1349978"/>
                <a:gd name="connsiteY22" fmla="*/ 514731 h 1349978"/>
                <a:gd name="connsiteX23" fmla="*/ 897350 w 1349978"/>
                <a:gd name="connsiteY23" fmla="*/ 411670 h 1349978"/>
                <a:gd name="connsiteX24" fmla="*/ 926115 w 1349978"/>
                <a:gd name="connsiteY24" fmla="*/ 411956 h 1349978"/>
                <a:gd name="connsiteX25" fmla="*/ 994505 w 1349978"/>
                <a:gd name="connsiteY25" fmla="*/ 476250 h 1349978"/>
                <a:gd name="connsiteX26" fmla="*/ 1025080 w 1349978"/>
                <a:gd name="connsiteY26" fmla="*/ 476250 h 1349978"/>
                <a:gd name="connsiteX27" fmla="*/ 1025080 w 1349978"/>
                <a:gd name="connsiteY27" fmla="*/ 381000 h 1349978"/>
                <a:gd name="connsiteX28" fmla="*/ 605027 w 1349978"/>
                <a:gd name="connsiteY28" fmla="*/ 381000 h 1349978"/>
                <a:gd name="connsiteX29" fmla="*/ 605027 w 1349978"/>
                <a:gd name="connsiteY29" fmla="*/ 412147 h 1349978"/>
                <a:gd name="connsiteX30" fmla="*/ 612171 w 1349978"/>
                <a:gd name="connsiteY30" fmla="*/ 412147 h 1349978"/>
                <a:gd name="connsiteX31" fmla="*/ 635983 w 1349978"/>
                <a:gd name="connsiteY31" fmla="*/ 435769 h 1349978"/>
                <a:gd name="connsiteX32" fmla="*/ 635983 w 1349978"/>
                <a:gd name="connsiteY32" fmla="*/ 619982 h 1349978"/>
                <a:gd name="connsiteX33" fmla="*/ 612171 w 1349978"/>
                <a:gd name="connsiteY33" fmla="*/ 643604 h 1349978"/>
                <a:gd name="connsiteX34" fmla="*/ 605027 w 1349978"/>
                <a:gd name="connsiteY34" fmla="*/ 643604 h 1349978"/>
                <a:gd name="connsiteX35" fmla="*/ 605027 w 1349978"/>
                <a:gd name="connsiteY35" fmla="*/ 674751 h 1349978"/>
                <a:gd name="connsiteX36" fmla="*/ 761523 w 1349978"/>
                <a:gd name="connsiteY36" fmla="*/ 674751 h 1349978"/>
                <a:gd name="connsiteX37" fmla="*/ 761523 w 1349978"/>
                <a:gd name="connsiteY37" fmla="*/ 643604 h 1349978"/>
                <a:gd name="connsiteX38" fmla="*/ 754379 w 1349978"/>
                <a:gd name="connsiteY38" fmla="*/ 643604 h 1349978"/>
                <a:gd name="connsiteX39" fmla="*/ 730757 w 1349978"/>
                <a:gd name="connsiteY39" fmla="*/ 619982 h 1349978"/>
                <a:gd name="connsiteX40" fmla="*/ 730757 w 1349978"/>
                <a:gd name="connsiteY40" fmla="*/ 435769 h 1349978"/>
                <a:gd name="connsiteX41" fmla="*/ 754379 w 1349978"/>
                <a:gd name="connsiteY41" fmla="*/ 412147 h 1349978"/>
                <a:gd name="connsiteX42" fmla="*/ 761523 w 1349978"/>
                <a:gd name="connsiteY42" fmla="*/ 412147 h 1349978"/>
                <a:gd name="connsiteX43" fmla="*/ 761523 w 1349978"/>
                <a:gd name="connsiteY43" fmla="*/ 381000 h 1349978"/>
                <a:gd name="connsiteX44" fmla="*/ 61055 w 1349978"/>
                <a:gd name="connsiteY44" fmla="*/ 381000 h 1349978"/>
                <a:gd name="connsiteX45" fmla="*/ 61055 w 1349978"/>
                <a:gd name="connsiteY45" fmla="*/ 476250 h 1349978"/>
                <a:gd name="connsiteX46" fmla="*/ 91344 w 1349978"/>
                <a:gd name="connsiteY46" fmla="*/ 476250 h 1349978"/>
                <a:gd name="connsiteX47" fmla="*/ 159924 w 1349978"/>
                <a:gd name="connsiteY47" fmla="*/ 411956 h 1349978"/>
                <a:gd name="connsiteX48" fmla="*/ 188499 w 1349978"/>
                <a:gd name="connsiteY48" fmla="*/ 411670 h 1349978"/>
                <a:gd name="connsiteX49" fmla="*/ 125063 w 1349978"/>
                <a:gd name="connsiteY49" fmla="*/ 514731 h 1349978"/>
                <a:gd name="connsiteX50" fmla="*/ 50196 w 1349978"/>
                <a:gd name="connsiteY50" fmla="*/ 674941 h 1349978"/>
                <a:gd name="connsiteX51" fmla="*/ 291560 w 1349978"/>
                <a:gd name="connsiteY51" fmla="*/ 674941 h 1349978"/>
                <a:gd name="connsiteX52" fmla="*/ 291560 w 1349978"/>
                <a:gd name="connsiteY52" fmla="*/ 579501 h 1349978"/>
                <a:gd name="connsiteX53" fmla="*/ 259937 w 1349978"/>
                <a:gd name="connsiteY53" fmla="*/ 579501 h 1349978"/>
                <a:gd name="connsiteX54" fmla="*/ 199358 w 1349978"/>
                <a:gd name="connsiteY54" fmla="*/ 643795 h 1349978"/>
                <a:gd name="connsiteX55" fmla="*/ 161067 w 1349978"/>
                <a:gd name="connsiteY55" fmla="*/ 643795 h 1349978"/>
                <a:gd name="connsiteX56" fmla="*/ 229266 w 1349978"/>
                <a:gd name="connsiteY56" fmla="*/ 532733 h 1349978"/>
                <a:gd name="connsiteX57" fmla="*/ 297275 w 1349978"/>
                <a:gd name="connsiteY57" fmla="*/ 381000 h 1349978"/>
                <a:gd name="connsiteX58" fmla="*/ 323563 w 1349978"/>
                <a:gd name="connsiteY58" fmla="*/ 380905 h 1349978"/>
                <a:gd name="connsiteX59" fmla="*/ 323563 w 1349978"/>
                <a:gd name="connsiteY59" fmla="*/ 412242 h 1349978"/>
                <a:gd name="connsiteX60" fmla="*/ 330707 w 1349978"/>
                <a:gd name="connsiteY60" fmla="*/ 412242 h 1349978"/>
                <a:gd name="connsiteX61" fmla="*/ 354329 w 1349978"/>
                <a:gd name="connsiteY61" fmla="*/ 435864 h 1349978"/>
                <a:gd name="connsiteX62" fmla="*/ 354329 w 1349978"/>
                <a:gd name="connsiteY62" fmla="*/ 620078 h 1349978"/>
                <a:gd name="connsiteX63" fmla="*/ 330707 w 1349978"/>
                <a:gd name="connsiteY63" fmla="*/ 643700 h 1349978"/>
                <a:gd name="connsiteX64" fmla="*/ 323563 w 1349978"/>
                <a:gd name="connsiteY64" fmla="*/ 643700 h 1349978"/>
                <a:gd name="connsiteX65" fmla="*/ 323563 w 1349978"/>
                <a:gd name="connsiteY65" fmla="*/ 674847 h 1349978"/>
                <a:gd name="connsiteX66" fmla="*/ 572547 w 1349978"/>
                <a:gd name="connsiteY66" fmla="*/ 674942 h 1349978"/>
                <a:gd name="connsiteX67" fmla="*/ 572547 w 1349978"/>
                <a:gd name="connsiteY67" fmla="*/ 579501 h 1349978"/>
                <a:gd name="connsiteX68" fmla="*/ 540924 w 1349978"/>
                <a:gd name="connsiteY68" fmla="*/ 579501 h 1349978"/>
                <a:gd name="connsiteX69" fmla="*/ 480059 w 1349978"/>
                <a:gd name="connsiteY69" fmla="*/ 643795 h 1349978"/>
                <a:gd name="connsiteX70" fmla="*/ 448436 w 1349978"/>
                <a:gd name="connsiteY70" fmla="*/ 643795 h 1349978"/>
                <a:gd name="connsiteX71" fmla="*/ 448436 w 1349978"/>
                <a:gd name="connsiteY71" fmla="*/ 543592 h 1349978"/>
                <a:gd name="connsiteX72" fmla="*/ 459675 w 1349978"/>
                <a:gd name="connsiteY72" fmla="*/ 543592 h 1349978"/>
                <a:gd name="connsiteX73" fmla="*/ 483488 w 1349978"/>
                <a:gd name="connsiteY73" fmla="*/ 567405 h 1349978"/>
                <a:gd name="connsiteX74" fmla="*/ 483488 w 1349978"/>
                <a:gd name="connsiteY74" fmla="*/ 579311 h 1349978"/>
                <a:gd name="connsiteX75" fmla="*/ 514635 w 1349978"/>
                <a:gd name="connsiteY75" fmla="*/ 579311 h 1349978"/>
                <a:gd name="connsiteX76" fmla="*/ 514635 w 1349978"/>
                <a:gd name="connsiteY76" fmla="*/ 476536 h 1349978"/>
                <a:gd name="connsiteX77" fmla="*/ 483488 w 1349978"/>
                <a:gd name="connsiteY77" fmla="*/ 476536 h 1349978"/>
                <a:gd name="connsiteX78" fmla="*/ 483488 w 1349978"/>
                <a:gd name="connsiteY78" fmla="*/ 488442 h 1349978"/>
                <a:gd name="connsiteX79" fmla="*/ 459675 w 1349978"/>
                <a:gd name="connsiteY79" fmla="*/ 512255 h 1349978"/>
                <a:gd name="connsiteX80" fmla="*/ 448436 w 1349978"/>
                <a:gd name="connsiteY80" fmla="*/ 512255 h 1349978"/>
                <a:gd name="connsiteX81" fmla="*/ 448436 w 1349978"/>
                <a:gd name="connsiteY81" fmla="*/ 412052 h 1349978"/>
                <a:gd name="connsiteX82" fmla="*/ 480059 w 1349978"/>
                <a:gd name="connsiteY82" fmla="*/ 412052 h 1349978"/>
                <a:gd name="connsiteX83" fmla="*/ 540924 w 1349978"/>
                <a:gd name="connsiteY83" fmla="*/ 476345 h 1349978"/>
                <a:gd name="connsiteX84" fmla="*/ 572547 w 1349978"/>
                <a:gd name="connsiteY84" fmla="*/ 476345 h 1349978"/>
                <a:gd name="connsiteX85" fmla="*/ 572547 w 1349978"/>
                <a:gd name="connsiteY85" fmla="*/ 380905 h 1349978"/>
                <a:gd name="connsiteX86" fmla="*/ 0 w 1349978"/>
                <a:gd name="connsiteY86" fmla="*/ 0 h 1349978"/>
                <a:gd name="connsiteX87" fmla="*/ 1349978 w 1349978"/>
                <a:gd name="connsiteY87" fmla="*/ 0 h 1349978"/>
                <a:gd name="connsiteX88" fmla="*/ 1349978 w 1349978"/>
                <a:gd name="connsiteY88" fmla="*/ 1349978 h 1349978"/>
                <a:gd name="connsiteX89" fmla="*/ 675037 w 1349978"/>
                <a:gd name="connsiteY89" fmla="*/ 1205389 h 1349978"/>
                <a:gd name="connsiteX90" fmla="*/ 0 w 1349978"/>
                <a:gd name="connsiteY90" fmla="*/ 1349978 h 1349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349978" h="1349978">
                  <a:moveTo>
                    <a:pt x="1063275" y="381000"/>
                  </a:moveTo>
                  <a:cubicBezTo>
                    <a:pt x="1063275" y="381000"/>
                    <a:pt x="1027556" y="427768"/>
                    <a:pt x="1120901" y="532733"/>
                  </a:cubicBezTo>
                  <a:cubicBezTo>
                    <a:pt x="1120901" y="532733"/>
                    <a:pt x="1187100" y="609981"/>
                    <a:pt x="1188910" y="643795"/>
                  </a:cubicBezTo>
                  <a:lnTo>
                    <a:pt x="1150810" y="643795"/>
                  </a:lnTo>
                  <a:cubicBezTo>
                    <a:pt x="1095851" y="643795"/>
                    <a:pt x="1089945" y="579501"/>
                    <a:pt x="1089945" y="579501"/>
                  </a:cubicBezTo>
                  <a:lnTo>
                    <a:pt x="1058322" y="579501"/>
                  </a:lnTo>
                  <a:lnTo>
                    <a:pt x="1058322" y="674941"/>
                  </a:lnTo>
                  <a:lnTo>
                    <a:pt x="1285874" y="674941"/>
                  </a:lnTo>
                  <a:cubicBezTo>
                    <a:pt x="1285874" y="674941"/>
                    <a:pt x="1327213" y="630365"/>
                    <a:pt x="1224819" y="514731"/>
                  </a:cubicBezTo>
                  <a:cubicBezTo>
                    <a:pt x="1224819" y="514731"/>
                    <a:pt x="1171098" y="459581"/>
                    <a:pt x="1161383" y="411670"/>
                  </a:cubicBezTo>
                  <a:lnTo>
                    <a:pt x="1190148" y="411956"/>
                  </a:lnTo>
                  <a:cubicBezTo>
                    <a:pt x="1253394" y="411956"/>
                    <a:pt x="1258538" y="476250"/>
                    <a:pt x="1258538" y="476250"/>
                  </a:cubicBezTo>
                  <a:lnTo>
                    <a:pt x="1288827" y="476250"/>
                  </a:lnTo>
                  <a:lnTo>
                    <a:pt x="1288827" y="381000"/>
                  </a:lnTo>
                  <a:close/>
                  <a:moveTo>
                    <a:pt x="799242" y="381000"/>
                  </a:moveTo>
                  <a:cubicBezTo>
                    <a:pt x="799242" y="381000"/>
                    <a:pt x="763523" y="427768"/>
                    <a:pt x="856868" y="532733"/>
                  </a:cubicBezTo>
                  <a:cubicBezTo>
                    <a:pt x="856868" y="532733"/>
                    <a:pt x="923067" y="609981"/>
                    <a:pt x="924877" y="643795"/>
                  </a:cubicBezTo>
                  <a:lnTo>
                    <a:pt x="886777" y="643795"/>
                  </a:lnTo>
                  <a:cubicBezTo>
                    <a:pt x="831818" y="643795"/>
                    <a:pt x="825912" y="579501"/>
                    <a:pt x="825912" y="579501"/>
                  </a:cubicBezTo>
                  <a:lnTo>
                    <a:pt x="794289" y="579501"/>
                  </a:lnTo>
                  <a:lnTo>
                    <a:pt x="794289" y="674941"/>
                  </a:lnTo>
                  <a:lnTo>
                    <a:pt x="1021841" y="674941"/>
                  </a:lnTo>
                  <a:cubicBezTo>
                    <a:pt x="1021841" y="674941"/>
                    <a:pt x="1063180" y="630365"/>
                    <a:pt x="960786" y="514731"/>
                  </a:cubicBezTo>
                  <a:cubicBezTo>
                    <a:pt x="960786" y="514731"/>
                    <a:pt x="907065" y="459581"/>
                    <a:pt x="897350" y="411670"/>
                  </a:cubicBezTo>
                  <a:lnTo>
                    <a:pt x="926115" y="411956"/>
                  </a:lnTo>
                  <a:cubicBezTo>
                    <a:pt x="989552" y="411956"/>
                    <a:pt x="994505" y="476250"/>
                    <a:pt x="994505" y="476250"/>
                  </a:cubicBezTo>
                  <a:lnTo>
                    <a:pt x="1025080" y="476250"/>
                  </a:lnTo>
                  <a:lnTo>
                    <a:pt x="1025080" y="381000"/>
                  </a:lnTo>
                  <a:close/>
                  <a:moveTo>
                    <a:pt x="605027" y="381000"/>
                  </a:moveTo>
                  <a:lnTo>
                    <a:pt x="605027" y="412147"/>
                  </a:lnTo>
                  <a:lnTo>
                    <a:pt x="612171" y="412147"/>
                  </a:lnTo>
                  <a:cubicBezTo>
                    <a:pt x="625410" y="412147"/>
                    <a:pt x="635983" y="422719"/>
                    <a:pt x="635983" y="435769"/>
                  </a:cubicBezTo>
                  <a:lnTo>
                    <a:pt x="635983" y="619982"/>
                  </a:lnTo>
                  <a:cubicBezTo>
                    <a:pt x="635983" y="632936"/>
                    <a:pt x="625410" y="643604"/>
                    <a:pt x="612171" y="643604"/>
                  </a:cubicBezTo>
                  <a:lnTo>
                    <a:pt x="605027" y="643604"/>
                  </a:lnTo>
                  <a:lnTo>
                    <a:pt x="605027" y="674751"/>
                  </a:lnTo>
                  <a:lnTo>
                    <a:pt x="761523" y="674751"/>
                  </a:lnTo>
                  <a:lnTo>
                    <a:pt x="761523" y="643604"/>
                  </a:lnTo>
                  <a:lnTo>
                    <a:pt x="754379" y="643604"/>
                  </a:lnTo>
                  <a:cubicBezTo>
                    <a:pt x="741425" y="643604"/>
                    <a:pt x="730757" y="632936"/>
                    <a:pt x="730757" y="619982"/>
                  </a:cubicBezTo>
                  <a:lnTo>
                    <a:pt x="730757" y="435769"/>
                  </a:lnTo>
                  <a:cubicBezTo>
                    <a:pt x="730757" y="422815"/>
                    <a:pt x="741330" y="412147"/>
                    <a:pt x="754379" y="412147"/>
                  </a:cubicBezTo>
                  <a:lnTo>
                    <a:pt x="761523" y="412147"/>
                  </a:lnTo>
                  <a:lnTo>
                    <a:pt x="761523" y="381000"/>
                  </a:lnTo>
                  <a:close/>
                  <a:moveTo>
                    <a:pt x="61055" y="381000"/>
                  </a:moveTo>
                  <a:lnTo>
                    <a:pt x="61055" y="476250"/>
                  </a:lnTo>
                  <a:lnTo>
                    <a:pt x="91344" y="476250"/>
                  </a:lnTo>
                  <a:cubicBezTo>
                    <a:pt x="91344" y="476250"/>
                    <a:pt x="96488" y="411956"/>
                    <a:pt x="159924" y="411956"/>
                  </a:cubicBezTo>
                  <a:lnTo>
                    <a:pt x="188499" y="411670"/>
                  </a:lnTo>
                  <a:cubicBezTo>
                    <a:pt x="176593" y="457200"/>
                    <a:pt x="125063" y="514731"/>
                    <a:pt x="125063" y="514731"/>
                  </a:cubicBezTo>
                  <a:cubicBezTo>
                    <a:pt x="41338" y="602647"/>
                    <a:pt x="50196" y="674941"/>
                    <a:pt x="50196" y="674941"/>
                  </a:cubicBezTo>
                  <a:lnTo>
                    <a:pt x="291560" y="674941"/>
                  </a:lnTo>
                  <a:lnTo>
                    <a:pt x="291560" y="579501"/>
                  </a:lnTo>
                  <a:lnTo>
                    <a:pt x="259937" y="579501"/>
                  </a:lnTo>
                  <a:cubicBezTo>
                    <a:pt x="259937" y="579501"/>
                    <a:pt x="254317" y="643795"/>
                    <a:pt x="199358" y="643795"/>
                  </a:cubicBezTo>
                  <a:lnTo>
                    <a:pt x="161067" y="643795"/>
                  </a:lnTo>
                  <a:cubicBezTo>
                    <a:pt x="162782" y="609981"/>
                    <a:pt x="229266" y="532733"/>
                    <a:pt x="229266" y="532733"/>
                  </a:cubicBezTo>
                  <a:cubicBezTo>
                    <a:pt x="299180" y="454628"/>
                    <a:pt x="297275" y="381000"/>
                    <a:pt x="297275" y="381000"/>
                  </a:cubicBezTo>
                  <a:close/>
                  <a:moveTo>
                    <a:pt x="323563" y="380905"/>
                  </a:moveTo>
                  <a:lnTo>
                    <a:pt x="323563" y="412242"/>
                  </a:lnTo>
                  <a:lnTo>
                    <a:pt x="330707" y="412242"/>
                  </a:lnTo>
                  <a:cubicBezTo>
                    <a:pt x="343661" y="412242"/>
                    <a:pt x="354329" y="422910"/>
                    <a:pt x="354329" y="435864"/>
                  </a:cubicBezTo>
                  <a:lnTo>
                    <a:pt x="354329" y="620078"/>
                  </a:lnTo>
                  <a:cubicBezTo>
                    <a:pt x="354329" y="633032"/>
                    <a:pt x="343756" y="643700"/>
                    <a:pt x="330707" y="643700"/>
                  </a:cubicBezTo>
                  <a:lnTo>
                    <a:pt x="323563" y="643700"/>
                  </a:lnTo>
                  <a:lnTo>
                    <a:pt x="323563" y="674847"/>
                  </a:lnTo>
                  <a:lnTo>
                    <a:pt x="572547" y="674942"/>
                  </a:lnTo>
                  <a:lnTo>
                    <a:pt x="572547" y="579501"/>
                  </a:lnTo>
                  <a:lnTo>
                    <a:pt x="540924" y="579501"/>
                  </a:lnTo>
                  <a:cubicBezTo>
                    <a:pt x="540924" y="579501"/>
                    <a:pt x="535113" y="643795"/>
                    <a:pt x="480059" y="643795"/>
                  </a:cubicBezTo>
                  <a:lnTo>
                    <a:pt x="448436" y="643795"/>
                  </a:lnTo>
                  <a:lnTo>
                    <a:pt x="448436" y="543592"/>
                  </a:lnTo>
                  <a:lnTo>
                    <a:pt x="459675" y="543592"/>
                  </a:lnTo>
                  <a:cubicBezTo>
                    <a:pt x="472915" y="543592"/>
                    <a:pt x="483488" y="554260"/>
                    <a:pt x="483488" y="567405"/>
                  </a:cubicBezTo>
                  <a:lnTo>
                    <a:pt x="483488" y="579311"/>
                  </a:lnTo>
                  <a:lnTo>
                    <a:pt x="514635" y="579311"/>
                  </a:lnTo>
                  <a:lnTo>
                    <a:pt x="514635" y="476536"/>
                  </a:lnTo>
                  <a:lnTo>
                    <a:pt x="483488" y="476536"/>
                  </a:lnTo>
                  <a:lnTo>
                    <a:pt x="483488" y="488442"/>
                  </a:lnTo>
                  <a:cubicBezTo>
                    <a:pt x="483488" y="501682"/>
                    <a:pt x="472915" y="512255"/>
                    <a:pt x="459675" y="512255"/>
                  </a:cubicBezTo>
                  <a:lnTo>
                    <a:pt x="448436" y="512255"/>
                  </a:lnTo>
                  <a:lnTo>
                    <a:pt x="448436" y="412052"/>
                  </a:lnTo>
                  <a:lnTo>
                    <a:pt x="480059" y="412052"/>
                  </a:lnTo>
                  <a:cubicBezTo>
                    <a:pt x="535018" y="412052"/>
                    <a:pt x="540924" y="476345"/>
                    <a:pt x="540924" y="476345"/>
                  </a:cubicBezTo>
                  <a:lnTo>
                    <a:pt x="572547" y="476345"/>
                  </a:lnTo>
                  <a:lnTo>
                    <a:pt x="572547" y="380905"/>
                  </a:lnTo>
                  <a:close/>
                  <a:moveTo>
                    <a:pt x="0" y="0"/>
                  </a:moveTo>
                  <a:lnTo>
                    <a:pt x="1349978" y="0"/>
                  </a:lnTo>
                  <a:lnTo>
                    <a:pt x="1349978" y="1349978"/>
                  </a:lnTo>
                  <a:cubicBezTo>
                    <a:pt x="1144143" y="1257110"/>
                    <a:pt x="915448" y="1205389"/>
                    <a:pt x="675037" y="1205389"/>
                  </a:cubicBezTo>
                  <a:cubicBezTo>
                    <a:pt x="434530" y="1205389"/>
                    <a:pt x="205835" y="1257110"/>
                    <a:pt x="0" y="1349978"/>
                  </a:cubicBezTo>
                  <a:close/>
                </a:path>
              </a:pathLst>
            </a:custGeom>
            <a:solidFill>
              <a:srgbClr val="0F2D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3AF234C3-8AF3-E1CD-513E-E8A3D334F42B}"/>
                </a:ext>
              </a:extLst>
            </p:cNvPr>
            <p:cNvSpPr/>
            <p:nvPr/>
          </p:nvSpPr>
          <p:spPr>
            <a:xfrm>
              <a:off x="1712286" y="4146804"/>
              <a:ext cx="2028921" cy="309658"/>
            </a:xfrm>
            <a:custGeom>
              <a:avLst/>
              <a:gdLst>
                <a:gd name="connsiteX0" fmla="*/ 1957197 w 2028921"/>
                <a:gd name="connsiteY0" fmla="*/ 94202 h 309658"/>
                <a:gd name="connsiteX1" fmla="*/ 1937576 w 2028921"/>
                <a:gd name="connsiteY1" fmla="*/ 99631 h 309658"/>
                <a:gd name="connsiteX2" fmla="*/ 1925670 w 2028921"/>
                <a:gd name="connsiteY2" fmla="*/ 113633 h 309658"/>
                <a:gd name="connsiteX3" fmla="*/ 1919764 w 2028921"/>
                <a:gd name="connsiteY3" fmla="*/ 132874 h 309658"/>
                <a:gd name="connsiteX4" fmla="*/ 1918240 w 2028921"/>
                <a:gd name="connsiteY4" fmla="*/ 153638 h 309658"/>
                <a:gd name="connsiteX5" fmla="*/ 1919955 w 2028921"/>
                <a:gd name="connsiteY5" fmla="*/ 174403 h 309658"/>
                <a:gd name="connsiteX6" fmla="*/ 1925955 w 2028921"/>
                <a:gd name="connsiteY6" fmla="*/ 193738 h 309658"/>
                <a:gd name="connsiteX7" fmla="*/ 1937957 w 2028921"/>
                <a:gd name="connsiteY7" fmla="*/ 208312 h 309658"/>
                <a:gd name="connsiteX8" fmla="*/ 1957483 w 2028921"/>
                <a:gd name="connsiteY8" fmla="*/ 214027 h 309658"/>
                <a:gd name="connsiteX9" fmla="*/ 1976343 w 2028921"/>
                <a:gd name="connsiteY9" fmla="*/ 208121 h 309658"/>
                <a:gd name="connsiteX10" fmla="*/ 1988630 w 2028921"/>
                <a:gd name="connsiteY10" fmla="*/ 193453 h 309658"/>
                <a:gd name="connsiteX11" fmla="*/ 1995202 w 2028921"/>
                <a:gd name="connsiteY11" fmla="*/ 174022 h 309658"/>
                <a:gd name="connsiteX12" fmla="*/ 1997107 w 2028921"/>
                <a:gd name="connsiteY12" fmla="*/ 153638 h 309658"/>
                <a:gd name="connsiteX13" fmla="*/ 1995107 w 2028921"/>
                <a:gd name="connsiteY13" fmla="*/ 133350 h 309658"/>
                <a:gd name="connsiteX14" fmla="*/ 1988344 w 2028921"/>
                <a:gd name="connsiteY14" fmla="*/ 114109 h 309658"/>
                <a:gd name="connsiteX15" fmla="*/ 1976057 w 2028921"/>
                <a:gd name="connsiteY15" fmla="*/ 99727 h 309658"/>
                <a:gd name="connsiteX16" fmla="*/ 1957197 w 2028921"/>
                <a:gd name="connsiteY16" fmla="*/ 94202 h 309658"/>
                <a:gd name="connsiteX17" fmla="*/ 821437 w 2028921"/>
                <a:gd name="connsiteY17" fmla="*/ 94107 h 309658"/>
                <a:gd name="connsiteX18" fmla="*/ 801625 w 2028921"/>
                <a:gd name="connsiteY18" fmla="*/ 99536 h 309658"/>
                <a:gd name="connsiteX19" fmla="*/ 789623 w 2028921"/>
                <a:gd name="connsiteY19" fmla="*/ 113538 h 309658"/>
                <a:gd name="connsiteX20" fmla="*/ 783718 w 2028921"/>
                <a:gd name="connsiteY20" fmla="*/ 132779 h 309658"/>
                <a:gd name="connsiteX21" fmla="*/ 782194 w 2028921"/>
                <a:gd name="connsiteY21" fmla="*/ 153543 h 309658"/>
                <a:gd name="connsiteX22" fmla="*/ 783908 w 2028921"/>
                <a:gd name="connsiteY22" fmla="*/ 173165 h 309658"/>
                <a:gd name="connsiteX23" fmla="*/ 789909 w 2028921"/>
                <a:gd name="connsiteY23" fmla="*/ 191738 h 309658"/>
                <a:gd name="connsiteX24" fmla="*/ 801815 w 2028921"/>
                <a:gd name="connsiteY24" fmla="*/ 205169 h 309658"/>
                <a:gd name="connsiteX25" fmla="*/ 821151 w 2028921"/>
                <a:gd name="connsiteY25" fmla="*/ 210407 h 309658"/>
                <a:gd name="connsiteX26" fmla="*/ 840010 w 2028921"/>
                <a:gd name="connsiteY26" fmla="*/ 204978 h 309658"/>
                <a:gd name="connsiteX27" fmla="*/ 852298 w 2028921"/>
                <a:gd name="connsiteY27" fmla="*/ 191262 h 309658"/>
                <a:gd name="connsiteX28" fmla="*/ 859060 w 2028921"/>
                <a:gd name="connsiteY28" fmla="*/ 172974 h 309658"/>
                <a:gd name="connsiteX29" fmla="*/ 861061 w 2028921"/>
                <a:gd name="connsiteY29" fmla="*/ 153543 h 309658"/>
                <a:gd name="connsiteX30" fmla="*/ 859156 w 2028921"/>
                <a:gd name="connsiteY30" fmla="*/ 133255 h 309658"/>
                <a:gd name="connsiteX31" fmla="*/ 852584 w 2028921"/>
                <a:gd name="connsiteY31" fmla="*/ 114014 h 309658"/>
                <a:gd name="connsiteX32" fmla="*/ 840296 w 2028921"/>
                <a:gd name="connsiteY32" fmla="*/ 99632 h 309658"/>
                <a:gd name="connsiteX33" fmla="*/ 821437 w 2028921"/>
                <a:gd name="connsiteY33" fmla="*/ 94107 h 309658"/>
                <a:gd name="connsiteX34" fmla="*/ 1107663 w 2028921"/>
                <a:gd name="connsiteY34" fmla="*/ 93916 h 309658"/>
                <a:gd name="connsiteX35" fmla="*/ 1088803 w 2028921"/>
                <a:gd name="connsiteY35" fmla="*/ 99441 h 309658"/>
                <a:gd name="connsiteX36" fmla="*/ 1076516 w 2028921"/>
                <a:gd name="connsiteY36" fmla="*/ 113633 h 309658"/>
                <a:gd name="connsiteX37" fmla="*/ 1069753 w 2028921"/>
                <a:gd name="connsiteY37" fmla="*/ 132779 h 309658"/>
                <a:gd name="connsiteX38" fmla="*/ 1067753 w 2028921"/>
                <a:gd name="connsiteY38" fmla="*/ 153067 h 309658"/>
                <a:gd name="connsiteX39" fmla="*/ 1069658 w 2028921"/>
                <a:gd name="connsiteY39" fmla="*/ 173450 h 309658"/>
                <a:gd name="connsiteX40" fmla="*/ 1076135 w 2028921"/>
                <a:gd name="connsiteY40" fmla="*/ 193357 h 309658"/>
                <a:gd name="connsiteX41" fmla="*/ 1088422 w 2028921"/>
                <a:gd name="connsiteY41" fmla="*/ 208026 h 309658"/>
                <a:gd name="connsiteX42" fmla="*/ 1107281 w 2028921"/>
                <a:gd name="connsiteY42" fmla="*/ 213931 h 309658"/>
                <a:gd name="connsiteX43" fmla="*/ 1126808 w 2028921"/>
                <a:gd name="connsiteY43" fmla="*/ 208216 h 309658"/>
                <a:gd name="connsiteX44" fmla="*/ 1138809 w 2028921"/>
                <a:gd name="connsiteY44" fmla="*/ 193643 h 309658"/>
                <a:gd name="connsiteX45" fmla="*/ 1144905 w 2028921"/>
                <a:gd name="connsiteY45" fmla="*/ 174022 h 309658"/>
                <a:gd name="connsiteX46" fmla="*/ 1146620 w 2028921"/>
                <a:gd name="connsiteY46" fmla="*/ 153067 h 309658"/>
                <a:gd name="connsiteX47" fmla="*/ 1145096 w 2028921"/>
                <a:gd name="connsiteY47" fmla="*/ 132493 h 309658"/>
                <a:gd name="connsiteX48" fmla="*/ 1139190 w 2028921"/>
                <a:gd name="connsiteY48" fmla="*/ 113347 h 309658"/>
                <a:gd name="connsiteX49" fmla="*/ 1127284 w 2028921"/>
                <a:gd name="connsiteY49" fmla="*/ 99346 h 309658"/>
                <a:gd name="connsiteX50" fmla="*/ 1107663 w 2028921"/>
                <a:gd name="connsiteY50" fmla="*/ 93916 h 309658"/>
                <a:gd name="connsiteX51" fmla="*/ 1598676 w 2028921"/>
                <a:gd name="connsiteY51" fmla="*/ 93536 h 309658"/>
                <a:gd name="connsiteX52" fmla="*/ 1578673 w 2028921"/>
                <a:gd name="connsiteY52" fmla="*/ 98774 h 309658"/>
                <a:gd name="connsiteX53" fmla="*/ 1565434 w 2028921"/>
                <a:gd name="connsiteY53" fmla="*/ 112681 h 309658"/>
                <a:gd name="connsiteX54" fmla="*/ 1557909 w 2028921"/>
                <a:gd name="connsiteY54" fmla="*/ 131921 h 309658"/>
                <a:gd name="connsiteX55" fmla="*/ 1555528 w 2028921"/>
                <a:gd name="connsiteY55" fmla="*/ 153353 h 309658"/>
                <a:gd name="connsiteX56" fmla="*/ 1557909 w 2028921"/>
                <a:gd name="connsiteY56" fmla="*/ 175450 h 309658"/>
                <a:gd name="connsiteX57" fmla="*/ 1565148 w 2028921"/>
                <a:gd name="connsiteY57" fmla="*/ 195072 h 309658"/>
                <a:gd name="connsiteX58" fmla="*/ 1578578 w 2028921"/>
                <a:gd name="connsiteY58" fmla="*/ 208979 h 309658"/>
                <a:gd name="connsiteX59" fmla="*/ 1598580 w 2028921"/>
                <a:gd name="connsiteY59" fmla="*/ 214408 h 309658"/>
                <a:gd name="connsiteX60" fmla="*/ 1618392 w 2028921"/>
                <a:gd name="connsiteY60" fmla="*/ 208979 h 309658"/>
                <a:gd name="connsiteX61" fmla="*/ 1631823 w 2028921"/>
                <a:gd name="connsiteY61" fmla="*/ 195072 h 309658"/>
                <a:gd name="connsiteX62" fmla="*/ 1639347 w 2028921"/>
                <a:gd name="connsiteY62" fmla="*/ 175641 h 309658"/>
                <a:gd name="connsiteX63" fmla="*/ 1641729 w 2028921"/>
                <a:gd name="connsiteY63" fmla="*/ 153257 h 309658"/>
                <a:gd name="connsiteX64" fmla="*/ 1639538 w 2028921"/>
                <a:gd name="connsiteY64" fmla="*/ 131731 h 309658"/>
                <a:gd name="connsiteX65" fmla="*/ 1632204 w 2028921"/>
                <a:gd name="connsiteY65" fmla="*/ 112490 h 309658"/>
                <a:gd name="connsiteX66" fmla="*/ 1618964 w 2028921"/>
                <a:gd name="connsiteY66" fmla="*/ 98774 h 309658"/>
                <a:gd name="connsiteX67" fmla="*/ 1598676 w 2028921"/>
                <a:gd name="connsiteY67" fmla="*/ 93536 h 309658"/>
                <a:gd name="connsiteX68" fmla="*/ 1282922 w 2028921"/>
                <a:gd name="connsiteY68" fmla="*/ 91440 h 309658"/>
                <a:gd name="connsiteX69" fmla="*/ 1265587 w 2028921"/>
                <a:gd name="connsiteY69" fmla="*/ 95822 h 309658"/>
                <a:gd name="connsiteX70" fmla="*/ 1253299 w 2028921"/>
                <a:gd name="connsiteY70" fmla="*/ 107252 h 309658"/>
                <a:gd name="connsiteX71" fmla="*/ 1245775 w 2028921"/>
                <a:gd name="connsiteY71" fmla="*/ 123063 h 309658"/>
                <a:gd name="connsiteX72" fmla="*/ 1243012 w 2028921"/>
                <a:gd name="connsiteY72" fmla="*/ 140685 h 309658"/>
                <a:gd name="connsiteX73" fmla="*/ 1317776 w 2028921"/>
                <a:gd name="connsiteY73" fmla="*/ 140685 h 309658"/>
                <a:gd name="connsiteX74" fmla="*/ 1317784 w 2028921"/>
                <a:gd name="connsiteY74" fmla="*/ 140780 h 309658"/>
                <a:gd name="connsiteX75" fmla="*/ 1317784 w 2028921"/>
                <a:gd name="connsiteY75" fmla="*/ 140685 h 309658"/>
                <a:gd name="connsiteX76" fmla="*/ 1317776 w 2028921"/>
                <a:gd name="connsiteY76" fmla="*/ 140685 h 309658"/>
                <a:gd name="connsiteX77" fmla="*/ 1316260 w 2028921"/>
                <a:gd name="connsiteY77" fmla="*/ 122682 h 309658"/>
                <a:gd name="connsiteX78" fmla="*/ 1310831 w 2028921"/>
                <a:gd name="connsiteY78" fmla="*/ 106871 h 309658"/>
                <a:gd name="connsiteX79" fmla="*/ 1300258 w 2028921"/>
                <a:gd name="connsiteY79" fmla="*/ 95727 h 309658"/>
                <a:gd name="connsiteX80" fmla="*/ 1282922 w 2028921"/>
                <a:gd name="connsiteY80" fmla="*/ 91440 h 309658"/>
                <a:gd name="connsiteX81" fmla="*/ 396621 w 2028921"/>
                <a:gd name="connsiteY81" fmla="*/ 91440 h 309658"/>
                <a:gd name="connsiteX82" fmla="*/ 379286 w 2028921"/>
                <a:gd name="connsiteY82" fmla="*/ 95822 h 309658"/>
                <a:gd name="connsiteX83" fmla="*/ 366998 w 2028921"/>
                <a:gd name="connsiteY83" fmla="*/ 107252 h 309658"/>
                <a:gd name="connsiteX84" fmla="*/ 359474 w 2028921"/>
                <a:gd name="connsiteY84" fmla="*/ 123063 h 309658"/>
                <a:gd name="connsiteX85" fmla="*/ 356711 w 2028921"/>
                <a:gd name="connsiteY85" fmla="*/ 140685 h 309658"/>
                <a:gd name="connsiteX86" fmla="*/ 431475 w 2028921"/>
                <a:gd name="connsiteY86" fmla="*/ 140685 h 309658"/>
                <a:gd name="connsiteX87" fmla="*/ 431483 w 2028921"/>
                <a:gd name="connsiteY87" fmla="*/ 140780 h 309658"/>
                <a:gd name="connsiteX88" fmla="*/ 431483 w 2028921"/>
                <a:gd name="connsiteY88" fmla="*/ 140685 h 309658"/>
                <a:gd name="connsiteX89" fmla="*/ 431475 w 2028921"/>
                <a:gd name="connsiteY89" fmla="*/ 140685 h 309658"/>
                <a:gd name="connsiteX90" fmla="*/ 429959 w 2028921"/>
                <a:gd name="connsiteY90" fmla="*/ 122682 h 309658"/>
                <a:gd name="connsiteX91" fmla="*/ 424529 w 2028921"/>
                <a:gd name="connsiteY91" fmla="*/ 106871 h 309658"/>
                <a:gd name="connsiteX92" fmla="*/ 413957 w 2028921"/>
                <a:gd name="connsiteY92" fmla="*/ 95727 h 309658"/>
                <a:gd name="connsiteX93" fmla="*/ 396621 w 2028921"/>
                <a:gd name="connsiteY93" fmla="*/ 91440 h 309658"/>
                <a:gd name="connsiteX94" fmla="*/ 230505 w 2028921"/>
                <a:gd name="connsiteY94" fmla="*/ 91440 h 309658"/>
                <a:gd name="connsiteX95" fmla="*/ 213170 w 2028921"/>
                <a:gd name="connsiteY95" fmla="*/ 95822 h 309658"/>
                <a:gd name="connsiteX96" fmla="*/ 200883 w 2028921"/>
                <a:gd name="connsiteY96" fmla="*/ 107252 h 309658"/>
                <a:gd name="connsiteX97" fmla="*/ 193358 w 2028921"/>
                <a:gd name="connsiteY97" fmla="*/ 123063 h 309658"/>
                <a:gd name="connsiteX98" fmla="*/ 190596 w 2028921"/>
                <a:gd name="connsiteY98" fmla="*/ 140685 h 309658"/>
                <a:gd name="connsiteX99" fmla="*/ 265359 w 2028921"/>
                <a:gd name="connsiteY99" fmla="*/ 140685 h 309658"/>
                <a:gd name="connsiteX100" fmla="*/ 265367 w 2028921"/>
                <a:gd name="connsiteY100" fmla="*/ 140780 h 309658"/>
                <a:gd name="connsiteX101" fmla="*/ 265367 w 2028921"/>
                <a:gd name="connsiteY101" fmla="*/ 140685 h 309658"/>
                <a:gd name="connsiteX102" fmla="*/ 265359 w 2028921"/>
                <a:gd name="connsiteY102" fmla="*/ 140685 h 309658"/>
                <a:gd name="connsiteX103" fmla="*/ 263843 w 2028921"/>
                <a:gd name="connsiteY103" fmla="*/ 122682 h 309658"/>
                <a:gd name="connsiteX104" fmla="*/ 258413 w 2028921"/>
                <a:gd name="connsiteY104" fmla="*/ 106871 h 309658"/>
                <a:gd name="connsiteX105" fmla="*/ 247841 w 2028921"/>
                <a:gd name="connsiteY105" fmla="*/ 95727 h 309658"/>
                <a:gd name="connsiteX106" fmla="*/ 230505 w 2028921"/>
                <a:gd name="connsiteY106" fmla="*/ 91440 h 309658"/>
                <a:gd name="connsiteX107" fmla="*/ 499872 w 2028921"/>
                <a:gd name="connsiteY107" fmla="*/ 72199 h 309658"/>
                <a:gd name="connsiteX108" fmla="*/ 531114 w 2028921"/>
                <a:gd name="connsiteY108" fmla="*/ 72199 h 309658"/>
                <a:gd name="connsiteX109" fmla="*/ 531114 w 2028921"/>
                <a:gd name="connsiteY109" fmla="*/ 235553 h 309658"/>
                <a:gd name="connsiteX110" fmla="*/ 499872 w 2028921"/>
                <a:gd name="connsiteY110" fmla="*/ 235553 h 309658"/>
                <a:gd name="connsiteX111" fmla="*/ 1364361 w 2028921"/>
                <a:gd name="connsiteY111" fmla="*/ 72104 h 309658"/>
                <a:gd name="connsiteX112" fmla="*/ 1398365 w 2028921"/>
                <a:gd name="connsiteY112" fmla="*/ 72104 h 309658"/>
                <a:gd name="connsiteX113" fmla="*/ 1436465 w 2028921"/>
                <a:gd name="connsiteY113" fmla="*/ 206406 h 309658"/>
                <a:gd name="connsiteX114" fmla="*/ 1473899 w 2028921"/>
                <a:gd name="connsiteY114" fmla="*/ 72104 h 309658"/>
                <a:gd name="connsiteX115" fmla="*/ 1505712 w 2028921"/>
                <a:gd name="connsiteY115" fmla="*/ 72104 h 309658"/>
                <a:gd name="connsiteX116" fmla="*/ 1446086 w 2028921"/>
                <a:gd name="connsiteY116" fmla="*/ 257365 h 309658"/>
                <a:gd name="connsiteX117" fmla="*/ 1438942 w 2028921"/>
                <a:gd name="connsiteY117" fmla="*/ 276129 h 309658"/>
                <a:gd name="connsiteX118" fmla="*/ 1428940 w 2028921"/>
                <a:gd name="connsiteY118" fmla="*/ 292988 h 309658"/>
                <a:gd name="connsiteX119" fmla="*/ 1414462 w 2028921"/>
                <a:gd name="connsiteY119" fmla="*/ 305085 h 309658"/>
                <a:gd name="connsiteX120" fmla="*/ 1393698 w 2028921"/>
                <a:gd name="connsiteY120" fmla="*/ 309657 h 309658"/>
                <a:gd name="connsiteX121" fmla="*/ 1370933 w 2028921"/>
                <a:gd name="connsiteY121" fmla="*/ 307371 h 309658"/>
                <a:gd name="connsiteX122" fmla="*/ 1372838 w 2028921"/>
                <a:gd name="connsiteY122" fmla="*/ 282225 h 309658"/>
                <a:gd name="connsiteX123" fmla="*/ 1388174 w 2028921"/>
                <a:gd name="connsiteY123" fmla="*/ 284511 h 309658"/>
                <a:gd name="connsiteX124" fmla="*/ 1406081 w 2028921"/>
                <a:gd name="connsiteY124" fmla="*/ 276320 h 309658"/>
                <a:gd name="connsiteX125" fmla="*/ 1417129 w 2028921"/>
                <a:gd name="connsiteY125" fmla="*/ 251460 h 309658"/>
                <a:gd name="connsiteX126" fmla="*/ 1420273 w 2028921"/>
                <a:gd name="connsiteY126" fmla="*/ 241363 h 309658"/>
                <a:gd name="connsiteX127" fmla="*/ 1793272 w 2028921"/>
                <a:gd name="connsiteY127" fmla="*/ 68961 h 309658"/>
                <a:gd name="connsiteX128" fmla="*/ 1817752 w 2028921"/>
                <a:gd name="connsiteY128" fmla="*/ 73533 h 309658"/>
                <a:gd name="connsiteX129" fmla="*/ 1833944 w 2028921"/>
                <a:gd name="connsiteY129" fmla="*/ 86392 h 309658"/>
                <a:gd name="connsiteX130" fmla="*/ 1842802 w 2028921"/>
                <a:gd name="connsiteY130" fmla="*/ 106490 h 309658"/>
                <a:gd name="connsiteX131" fmla="*/ 1845565 w 2028921"/>
                <a:gd name="connsiteY131" fmla="*/ 132302 h 309658"/>
                <a:gd name="connsiteX132" fmla="*/ 1845565 w 2028921"/>
                <a:gd name="connsiteY132" fmla="*/ 235553 h 309658"/>
                <a:gd name="connsiteX133" fmla="*/ 1814037 w 2028921"/>
                <a:gd name="connsiteY133" fmla="*/ 235553 h 309658"/>
                <a:gd name="connsiteX134" fmla="*/ 1814037 w 2028921"/>
                <a:gd name="connsiteY134" fmla="*/ 139160 h 309658"/>
                <a:gd name="connsiteX135" fmla="*/ 1812989 w 2028921"/>
                <a:gd name="connsiteY135" fmla="*/ 122491 h 309658"/>
                <a:gd name="connsiteX136" fmla="*/ 1808608 w 2028921"/>
                <a:gd name="connsiteY136" fmla="*/ 108109 h 309658"/>
                <a:gd name="connsiteX137" fmla="*/ 1799273 w 2028921"/>
                <a:gd name="connsiteY137" fmla="*/ 98107 h 309658"/>
                <a:gd name="connsiteX138" fmla="*/ 1783176 w 2028921"/>
                <a:gd name="connsiteY138" fmla="*/ 94393 h 309658"/>
                <a:gd name="connsiteX139" fmla="*/ 1764888 w 2028921"/>
                <a:gd name="connsiteY139" fmla="*/ 98965 h 309658"/>
                <a:gd name="connsiteX140" fmla="*/ 1753172 w 2028921"/>
                <a:gd name="connsiteY140" fmla="*/ 110871 h 309658"/>
                <a:gd name="connsiteX141" fmla="*/ 1746886 w 2028921"/>
                <a:gd name="connsiteY141" fmla="*/ 127540 h 309658"/>
                <a:gd name="connsiteX142" fmla="*/ 1744981 w 2028921"/>
                <a:gd name="connsiteY142" fmla="*/ 146685 h 309658"/>
                <a:gd name="connsiteX143" fmla="*/ 1744981 w 2028921"/>
                <a:gd name="connsiteY143" fmla="*/ 235553 h 309658"/>
                <a:gd name="connsiteX144" fmla="*/ 1713929 w 2028921"/>
                <a:gd name="connsiteY144" fmla="*/ 235553 h 309658"/>
                <a:gd name="connsiteX145" fmla="*/ 1713929 w 2028921"/>
                <a:gd name="connsiteY145" fmla="*/ 109728 h 309658"/>
                <a:gd name="connsiteX146" fmla="*/ 1713643 w 2028921"/>
                <a:gd name="connsiteY146" fmla="*/ 90964 h 309658"/>
                <a:gd name="connsiteX147" fmla="*/ 1712405 w 2028921"/>
                <a:gd name="connsiteY147" fmla="*/ 72199 h 309658"/>
                <a:gd name="connsiteX148" fmla="*/ 1741742 w 2028921"/>
                <a:gd name="connsiteY148" fmla="*/ 72199 h 309658"/>
                <a:gd name="connsiteX149" fmla="*/ 1742695 w 2028921"/>
                <a:gd name="connsiteY149" fmla="*/ 100298 h 309658"/>
                <a:gd name="connsiteX150" fmla="*/ 1793272 w 2028921"/>
                <a:gd name="connsiteY150" fmla="*/ 68961 h 309658"/>
                <a:gd name="connsiteX151" fmla="*/ 1598580 w 2028921"/>
                <a:gd name="connsiteY151" fmla="*/ 68961 h 309658"/>
                <a:gd name="connsiteX152" fmla="*/ 1631347 w 2028921"/>
                <a:gd name="connsiteY152" fmla="*/ 74962 h 309658"/>
                <a:gd name="connsiteX153" fmla="*/ 1655540 w 2028921"/>
                <a:gd name="connsiteY153" fmla="*/ 91916 h 309658"/>
                <a:gd name="connsiteX154" fmla="*/ 1670399 w 2028921"/>
                <a:gd name="connsiteY154" fmla="*/ 118586 h 309658"/>
                <a:gd name="connsiteX155" fmla="*/ 1675352 w 2028921"/>
                <a:gd name="connsiteY155" fmla="*/ 153257 h 309658"/>
                <a:gd name="connsiteX156" fmla="*/ 1670399 w 2028921"/>
                <a:gd name="connsiteY156" fmla="*/ 187547 h 309658"/>
                <a:gd name="connsiteX157" fmla="*/ 1655540 w 2028921"/>
                <a:gd name="connsiteY157" fmla="*/ 214789 h 309658"/>
                <a:gd name="connsiteX158" fmla="*/ 1631347 w 2028921"/>
                <a:gd name="connsiteY158" fmla="*/ 232791 h 309658"/>
                <a:gd name="connsiteX159" fmla="*/ 1598580 w 2028921"/>
                <a:gd name="connsiteY159" fmla="*/ 239173 h 309658"/>
                <a:gd name="connsiteX160" fmla="*/ 1565434 w 2028921"/>
                <a:gd name="connsiteY160" fmla="*/ 232886 h 309658"/>
                <a:gd name="connsiteX161" fmla="*/ 1532858 w 2028921"/>
                <a:gd name="connsiteY161" fmla="*/ 202216 h 309658"/>
                <a:gd name="connsiteX162" fmla="*/ 1521809 w 2028921"/>
                <a:gd name="connsiteY162" fmla="*/ 153257 h 309658"/>
                <a:gd name="connsiteX163" fmla="*/ 1527238 w 2028921"/>
                <a:gd name="connsiteY163" fmla="*/ 119158 h 309658"/>
                <a:gd name="connsiteX164" fmla="*/ 1542669 w 2028921"/>
                <a:gd name="connsiteY164" fmla="*/ 92488 h 309658"/>
                <a:gd name="connsiteX165" fmla="*/ 1566862 w 2028921"/>
                <a:gd name="connsiteY165" fmla="*/ 75152 h 309658"/>
                <a:gd name="connsiteX166" fmla="*/ 1598580 w 2028921"/>
                <a:gd name="connsiteY166" fmla="*/ 68961 h 309658"/>
                <a:gd name="connsiteX167" fmla="*/ 812388 w 2028921"/>
                <a:gd name="connsiteY167" fmla="*/ 68961 h 309658"/>
                <a:gd name="connsiteX168" fmla="*/ 841249 w 2028921"/>
                <a:gd name="connsiteY168" fmla="*/ 76295 h 309658"/>
                <a:gd name="connsiteX169" fmla="*/ 861347 w 2028921"/>
                <a:gd name="connsiteY169" fmla="*/ 99346 h 309658"/>
                <a:gd name="connsiteX170" fmla="*/ 861347 w 2028921"/>
                <a:gd name="connsiteY170" fmla="*/ 72199 h 309658"/>
                <a:gd name="connsiteX171" fmla="*/ 891350 w 2028921"/>
                <a:gd name="connsiteY171" fmla="*/ 72199 h 309658"/>
                <a:gd name="connsiteX172" fmla="*/ 891350 w 2028921"/>
                <a:gd name="connsiteY172" fmla="*/ 226409 h 309658"/>
                <a:gd name="connsiteX173" fmla="*/ 872300 w 2028921"/>
                <a:gd name="connsiteY173" fmla="*/ 288131 h 309658"/>
                <a:gd name="connsiteX174" fmla="*/ 813912 w 2028921"/>
                <a:gd name="connsiteY174" fmla="*/ 309658 h 309658"/>
                <a:gd name="connsiteX175" fmla="*/ 787242 w 2028921"/>
                <a:gd name="connsiteY175" fmla="*/ 307372 h 309658"/>
                <a:gd name="connsiteX176" fmla="*/ 760858 w 2028921"/>
                <a:gd name="connsiteY176" fmla="*/ 300799 h 309658"/>
                <a:gd name="connsiteX177" fmla="*/ 762763 w 2028921"/>
                <a:gd name="connsiteY177" fmla="*/ 273082 h 309658"/>
                <a:gd name="connsiteX178" fmla="*/ 785051 w 2028921"/>
                <a:gd name="connsiteY178" fmla="*/ 281749 h 309658"/>
                <a:gd name="connsiteX179" fmla="*/ 809245 w 2028921"/>
                <a:gd name="connsiteY179" fmla="*/ 284893 h 309658"/>
                <a:gd name="connsiteX180" fmla="*/ 832295 w 2028921"/>
                <a:gd name="connsiteY180" fmla="*/ 280607 h 309658"/>
                <a:gd name="connsiteX181" fmla="*/ 848202 w 2028921"/>
                <a:gd name="connsiteY181" fmla="*/ 268700 h 309658"/>
                <a:gd name="connsiteX182" fmla="*/ 857251 w 2028921"/>
                <a:gd name="connsiteY182" fmla="*/ 250222 h 309658"/>
                <a:gd name="connsiteX183" fmla="*/ 860013 w 2028921"/>
                <a:gd name="connsiteY183" fmla="*/ 226409 h 309658"/>
                <a:gd name="connsiteX184" fmla="*/ 860013 w 2028921"/>
                <a:gd name="connsiteY184" fmla="*/ 207169 h 309658"/>
                <a:gd name="connsiteX185" fmla="*/ 839534 w 2028921"/>
                <a:gd name="connsiteY185" fmla="*/ 228219 h 309658"/>
                <a:gd name="connsiteX186" fmla="*/ 811626 w 2028921"/>
                <a:gd name="connsiteY186" fmla="*/ 235553 h 309658"/>
                <a:gd name="connsiteX187" fmla="*/ 782480 w 2028921"/>
                <a:gd name="connsiteY187" fmla="*/ 228409 h 309658"/>
                <a:gd name="connsiteX188" fmla="*/ 762858 w 2028921"/>
                <a:gd name="connsiteY188" fmla="*/ 209645 h 309658"/>
                <a:gd name="connsiteX189" fmla="*/ 751809 w 2028921"/>
                <a:gd name="connsiteY189" fmla="*/ 183356 h 309658"/>
                <a:gd name="connsiteX190" fmla="*/ 748380 w 2028921"/>
                <a:gd name="connsiteY190" fmla="*/ 153257 h 309658"/>
                <a:gd name="connsiteX191" fmla="*/ 751809 w 2028921"/>
                <a:gd name="connsiteY191" fmla="*/ 121730 h 309658"/>
                <a:gd name="connsiteX192" fmla="*/ 763049 w 2028921"/>
                <a:gd name="connsiteY192" fmla="*/ 94774 h 309658"/>
                <a:gd name="connsiteX193" fmla="*/ 782860 w 2028921"/>
                <a:gd name="connsiteY193" fmla="*/ 76009 h 309658"/>
                <a:gd name="connsiteX194" fmla="*/ 812388 w 2028921"/>
                <a:gd name="connsiteY194" fmla="*/ 68961 h 309658"/>
                <a:gd name="connsiteX195" fmla="*/ 657701 w 2028921"/>
                <a:gd name="connsiteY195" fmla="*/ 68961 h 309658"/>
                <a:gd name="connsiteX196" fmla="*/ 682180 w 2028921"/>
                <a:gd name="connsiteY196" fmla="*/ 73533 h 309658"/>
                <a:gd name="connsiteX197" fmla="*/ 698373 w 2028921"/>
                <a:gd name="connsiteY197" fmla="*/ 86392 h 309658"/>
                <a:gd name="connsiteX198" fmla="*/ 707231 w 2028921"/>
                <a:gd name="connsiteY198" fmla="*/ 106490 h 309658"/>
                <a:gd name="connsiteX199" fmla="*/ 709994 w 2028921"/>
                <a:gd name="connsiteY199" fmla="*/ 132302 h 309658"/>
                <a:gd name="connsiteX200" fmla="*/ 709994 w 2028921"/>
                <a:gd name="connsiteY200" fmla="*/ 235553 h 309658"/>
                <a:gd name="connsiteX201" fmla="*/ 678466 w 2028921"/>
                <a:gd name="connsiteY201" fmla="*/ 235553 h 309658"/>
                <a:gd name="connsiteX202" fmla="*/ 678466 w 2028921"/>
                <a:gd name="connsiteY202" fmla="*/ 139160 h 309658"/>
                <a:gd name="connsiteX203" fmla="*/ 677323 w 2028921"/>
                <a:gd name="connsiteY203" fmla="*/ 122491 h 309658"/>
                <a:gd name="connsiteX204" fmla="*/ 672941 w 2028921"/>
                <a:gd name="connsiteY204" fmla="*/ 108109 h 309658"/>
                <a:gd name="connsiteX205" fmla="*/ 663607 w 2028921"/>
                <a:gd name="connsiteY205" fmla="*/ 98107 h 309658"/>
                <a:gd name="connsiteX206" fmla="*/ 647509 w 2028921"/>
                <a:gd name="connsiteY206" fmla="*/ 94393 h 309658"/>
                <a:gd name="connsiteX207" fmla="*/ 629222 w 2028921"/>
                <a:gd name="connsiteY207" fmla="*/ 98965 h 309658"/>
                <a:gd name="connsiteX208" fmla="*/ 617506 w 2028921"/>
                <a:gd name="connsiteY208" fmla="*/ 110871 h 309658"/>
                <a:gd name="connsiteX209" fmla="*/ 611219 w 2028921"/>
                <a:gd name="connsiteY209" fmla="*/ 127540 h 309658"/>
                <a:gd name="connsiteX210" fmla="*/ 609314 w 2028921"/>
                <a:gd name="connsiteY210" fmla="*/ 146685 h 309658"/>
                <a:gd name="connsiteX211" fmla="*/ 609314 w 2028921"/>
                <a:gd name="connsiteY211" fmla="*/ 235553 h 309658"/>
                <a:gd name="connsiteX212" fmla="*/ 578358 w 2028921"/>
                <a:gd name="connsiteY212" fmla="*/ 235553 h 309658"/>
                <a:gd name="connsiteX213" fmla="*/ 578358 w 2028921"/>
                <a:gd name="connsiteY213" fmla="*/ 109728 h 309658"/>
                <a:gd name="connsiteX214" fmla="*/ 578072 w 2028921"/>
                <a:gd name="connsiteY214" fmla="*/ 90964 h 309658"/>
                <a:gd name="connsiteX215" fmla="*/ 576834 w 2028921"/>
                <a:gd name="connsiteY215" fmla="*/ 72199 h 309658"/>
                <a:gd name="connsiteX216" fmla="*/ 606171 w 2028921"/>
                <a:gd name="connsiteY216" fmla="*/ 72199 h 309658"/>
                <a:gd name="connsiteX217" fmla="*/ 607124 w 2028921"/>
                <a:gd name="connsiteY217" fmla="*/ 100298 h 309658"/>
                <a:gd name="connsiteX218" fmla="*/ 657701 w 2028921"/>
                <a:gd name="connsiteY218" fmla="*/ 68961 h 309658"/>
                <a:gd name="connsiteX219" fmla="*/ 1282637 w 2028921"/>
                <a:gd name="connsiteY219" fmla="*/ 68866 h 309658"/>
                <a:gd name="connsiteX220" fmla="*/ 1313498 w 2028921"/>
                <a:gd name="connsiteY220" fmla="*/ 75248 h 309658"/>
                <a:gd name="connsiteX221" fmla="*/ 1333595 w 2028921"/>
                <a:gd name="connsiteY221" fmla="*/ 92679 h 309658"/>
                <a:gd name="connsiteX222" fmla="*/ 1344549 w 2028921"/>
                <a:gd name="connsiteY222" fmla="*/ 118777 h 309658"/>
                <a:gd name="connsiteX223" fmla="*/ 1347787 w 2028921"/>
                <a:gd name="connsiteY223" fmla="*/ 151162 h 309658"/>
                <a:gd name="connsiteX224" fmla="*/ 1347787 w 2028921"/>
                <a:gd name="connsiteY224" fmla="*/ 160973 h 309658"/>
                <a:gd name="connsiteX225" fmla="*/ 1243203 w 2028921"/>
                <a:gd name="connsiteY225" fmla="*/ 160973 h 309658"/>
                <a:gd name="connsiteX226" fmla="*/ 1243203 w 2028921"/>
                <a:gd name="connsiteY226" fmla="*/ 161068 h 309658"/>
                <a:gd name="connsiteX227" fmla="*/ 1246441 w 2028921"/>
                <a:gd name="connsiteY227" fmla="*/ 182499 h 309658"/>
                <a:gd name="connsiteX228" fmla="*/ 1256252 w 2028921"/>
                <a:gd name="connsiteY228" fmla="*/ 200025 h 309658"/>
                <a:gd name="connsiteX229" fmla="*/ 1272635 w 2028921"/>
                <a:gd name="connsiteY229" fmla="*/ 211932 h 309658"/>
                <a:gd name="connsiteX230" fmla="*/ 1295305 w 2028921"/>
                <a:gd name="connsiteY230" fmla="*/ 216313 h 309658"/>
                <a:gd name="connsiteX231" fmla="*/ 1317022 w 2028921"/>
                <a:gd name="connsiteY231" fmla="*/ 213837 h 309658"/>
                <a:gd name="connsiteX232" fmla="*/ 1337501 w 2028921"/>
                <a:gd name="connsiteY232" fmla="*/ 206121 h 309658"/>
                <a:gd name="connsiteX233" fmla="*/ 1339406 w 2028921"/>
                <a:gd name="connsiteY233" fmla="*/ 230315 h 309658"/>
                <a:gd name="connsiteX234" fmla="*/ 1316355 w 2028921"/>
                <a:gd name="connsiteY234" fmla="*/ 236982 h 309658"/>
                <a:gd name="connsiteX235" fmla="*/ 1291114 w 2028921"/>
                <a:gd name="connsiteY235" fmla="*/ 239078 h 309658"/>
                <a:gd name="connsiteX236" fmla="*/ 1256443 w 2028921"/>
                <a:gd name="connsiteY236" fmla="*/ 232887 h 309658"/>
                <a:gd name="connsiteX237" fmla="*/ 1231297 w 2028921"/>
                <a:gd name="connsiteY237" fmla="*/ 215266 h 309658"/>
                <a:gd name="connsiteX238" fmla="*/ 1216152 w 2028921"/>
                <a:gd name="connsiteY238" fmla="*/ 188119 h 309658"/>
                <a:gd name="connsiteX239" fmla="*/ 1211199 w 2028921"/>
                <a:gd name="connsiteY239" fmla="*/ 153162 h 309658"/>
                <a:gd name="connsiteX240" fmla="*/ 1216057 w 2028921"/>
                <a:gd name="connsiteY240" fmla="*/ 121158 h 309658"/>
                <a:gd name="connsiteX241" fmla="*/ 1230058 w 2028921"/>
                <a:gd name="connsiteY241" fmla="*/ 94203 h 309658"/>
                <a:gd name="connsiteX242" fmla="*/ 1252537 w 2028921"/>
                <a:gd name="connsiteY242" fmla="*/ 75724 h 309658"/>
                <a:gd name="connsiteX243" fmla="*/ 1282637 w 2028921"/>
                <a:gd name="connsiteY243" fmla="*/ 68866 h 309658"/>
                <a:gd name="connsiteX244" fmla="*/ 396336 w 2028921"/>
                <a:gd name="connsiteY244" fmla="*/ 68866 h 309658"/>
                <a:gd name="connsiteX245" fmla="*/ 427196 w 2028921"/>
                <a:gd name="connsiteY245" fmla="*/ 75248 h 309658"/>
                <a:gd name="connsiteX246" fmla="*/ 447294 w 2028921"/>
                <a:gd name="connsiteY246" fmla="*/ 92679 h 309658"/>
                <a:gd name="connsiteX247" fmla="*/ 458248 w 2028921"/>
                <a:gd name="connsiteY247" fmla="*/ 118777 h 309658"/>
                <a:gd name="connsiteX248" fmla="*/ 461486 w 2028921"/>
                <a:gd name="connsiteY248" fmla="*/ 151162 h 309658"/>
                <a:gd name="connsiteX249" fmla="*/ 461486 w 2028921"/>
                <a:gd name="connsiteY249" fmla="*/ 160973 h 309658"/>
                <a:gd name="connsiteX250" fmla="*/ 356902 w 2028921"/>
                <a:gd name="connsiteY250" fmla="*/ 160973 h 309658"/>
                <a:gd name="connsiteX251" fmla="*/ 356902 w 2028921"/>
                <a:gd name="connsiteY251" fmla="*/ 161068 h 309658"/>
                <a:gd name="connsiteX252" fmla="*/ 360140 w 2028921"/>
                <a:gd name="connsiteY252" fmla="*/ 182499 h 309658"/>
                <a:gd name="connsiteX253" fmla="*/ 369951 w 2028921"/>
                <a:gd name="connsiteY253" fmla="*/ 200025 h 309658"/>
                <a:gd name="connsiteX254" fmla="*/ 386334 w 2028921"/>
                <a:gd name="connsiteY254" fmla="*/ 211932 h 309658"/>
                <a:gd name="connsiteX255" fmla="*/ 409004 w 2028921"/>
                <a:gd name="connsiteY255" fmla="*/ 216313 h 309658"/>
                <a:gd name="connsiteX256" fmla="*/ 430721 w 2028921"/>
                <a:gd name="connsiteY256" fmla="*/ 213837 h 309658"/>
                <a:gd name="connsiteX257" fmla="*/ 451199 w 2028921"/>
                <a:gd name="connsiteY257" fmla="*/ 206121 h 309658"/>
                <a:gd name="connsiteX258" fmla="*/ 453104 w 2028921"/>
                <a:gd name="connsiteY258" fmla="*/ 230315 h 309658"/>
                <a:gd name="connsiteX259" fmla="*/ 430054 w 2028921"/>
                <a:gd name="connsiteY259" fmla="*/ 236982 h 309658"/>
                <a:gd name="connsiteX260" fmla="*/ 404813 w 2028921"/>
                <a:gd name="connsiteY260" fmla="*/ 239078 h 309658"/>
                <a:gd name="connsiteX261" fmla="*/ 370142 w 2028921"/>
                <a:gd name="connsiteY261" fmla="*/ 232887 h 309658"/>
                <a:gd name="connsiteX262" fmla="*/ 344996 w 2028921"/>
                <a:gd name="connsiteY262" fmla="*/ 215266 h 309658"/>
                <a:gd name="connsiteX263" fmla="*/ 329851 w 2028921"/>
                <a:gd name="connsiteY263" fmla="*/ 188119 h 309658"/>
                <a:gd name="connsiteX264" fmla="*/ 324898 w 2028921"/>
                <a:gd name="connsiteY264" fmla="*/ 153162 h 309658"/>
                <a:gd name="connsiteX265" fmla="*/ 329756 w 2028921"/>
                <a:gd name="connsiteY265" fmla="*/ 121158 h 309658"/>
                <a:gd name="connsiteX266" fmla="*/ 343757 w 2028921"/>
                <a:gd name="connsiteY266" fmla="*/ 94203 h 309658"/>
                <a:gd name="connsiteX267" fmla="*/ 366236 w 2028921"/>
                <a:gd name="connsiteY267" fmla="*/ 75724 h 309658"/>
                <a:gd name="connsiteX268" fmla="*/ 396336 w 2028921"/>
                <a:gd name="connsiteY268" fmla="*/ 68866 h 309658"/>
                <a:gd name="connsiteX269" fmla="*/ 230220 w 2028921"/>
                <a:gd name="connsiteY269" fmla="*/ 68866 h 309658"/>
                <a:gd name="connsiteX270" fmla="*/ 261081 w 2028921"/>
                <a:gd name="connsiteY270" fmla="*/ 75248 h 309658"/>
                <a:gd name="connsiteX271" fmla="*/ 281178 w 2028921"/>
                <a:gd name="connsiteY271" fmla="*/ 92679 h 309658"/>
                <a:gd name="connsiteX272" fmla="*/ 292132 w 2028921"/>
                <a:gd name="connsiteY272" fmla="*/ 118777 h 309658"/>
                <a:gd name="connsiteX273" fmla="*/ 295371 w 2028921"/>
                <a:gd name="connsiteY273" fmla="*/ 151162 h 309658"/>
                <a:gd name="connsiteX274" fmla="*/ 295371 w 2028921"/>
                <a:gd name="connsiteY274" fmla="*/ 160973 h 309658"/>
                <a:gd name="connsiteX275" fmla="*/ 190786 w 2028921"/>
                <a:gd name="connsiteY275" fmla="*/ 160973 h 309658"/>
                <a:gd name="connsiteX276" fmla="*/ 190786 w 2028921"/>
                <a:gd name="connsiteY276" fmla="*/ 161068 h 309658"/>
                <a:gd name="connsiteX277" fmla="*/ 194025 w 2028921"/>
                <a:gd name="connsiteY277" fmla="*/ 182499 h 309658"/>
                <a:gd name="connsiteX278" fmla="*/ 203835 w 2028921"/>
                <a:gd name="connsiteY278" fmla="*/ 200025 h 309658"/>
                <a:gd name="connsiteX279" fmla="*/ 220218 w 2028921"/>
                <a:gd name="connsiteY279" fmla="*/ 211932 h 309658"/>
                <a:gd name="connsiteX280" fmla="*/ 242888 w 2028921"/>
                <a:gd name="connsiteY280" fmla="*/ 216313 h 309658"/>
                <a:gd name="connsiteX281" fmla="*/ 264605 w 2028921"/>
                <a:gd name="connsiteY281" fmla="*/ 213837 h 309658"/>
                <a:gd name="connsiteX282" fmla="*/ 285084 w 2028921"/>
                <a:gd name="connsiteY282" fmla="*/ 206121 h 309658"/>
                <a:gd name="connsiteX283" fmla="*/ 286988 w 2028921"/>
                <a:gd name="connsiteY283" fmla="*/ 230315 h 309658"/>
                <a:gd name="connsiteX284" fmla="*/ 263938 w 2028921"/>
                <a:gd name="connsiteY284" fmla="*/ 236982 h 309658"/>
                <a:gd name="connsiteX285" fmla="*/ 238697 w 2028921"/>
                <a:gd name="connsiteY285" fmla="*/ 239078 h 309658"/>
                <a:gd name="connsiteX286" fmla="*/ 204026 w 2028921"/>
                <a:gd name="connsiteY286" fmla="*/ 232887 h 309658"/>
                <a:gd name="connsiteX287" fmla="*/ 178880 w 2028921"/>
                <a:gd name="connsiteY287" fmla="*/ 215266 h 309658"/>
                <a:gd name="connsiteX288" fmla="*/ 163735 w 2028921"/>
                <a:gd name="connsiteY288" fmla="*/ 188119 h 309658"/>
                <a:gd name="connsiteX289" fmla="*/ 158782 w 2028921"/>
                <a:gd name="connsiteY289" fmla="*/ 153162 h 309658"/>
                <a:gd name="connsiteX290" fmla="*/ 163640 w 2028921"/>
                <a:gd name="connsiteY290" fmla="*/ 121158 h 309658"/>
                <a:gd name="connsiteX291" fmla="*/ 177641 w 2028921"/>
                <a:gd name="connsiteY291" fmla="*/ 94203 h 309658"/>
                <a:gd name="connsiteX292" fmla="*/ 200121 w 2028921"/>
                <a:gd name="connsiteY292" fmla="*/ 75724 h 309658"/>
                <a:gd name="connsiteX293" fmla="*/ 230220 w 2028921"/>
                <a:gd name="connsiteY293" fmla="*/ 68866 h 309658"/>
                <a:gd name="connsiteX294" fmla="*/ 70866 w 2028921"/>
                <a:gd name="connsiteY294" fmla="*/ 14288 h 309658"/>
                <a:gd name="connsiteX295" fmla="*/ 118015 w 2028921"/>
                <a:gd name="connsiteY295" fmla="*/ 21146 h 309658"/>
                <a:gd name="connsiteX296" fmla="*/ 116110 w 2028921"/>
                <a:gd name="connsiteY296" fmla="*/ 49911 h 309658"/>
                <a:gd name="connsiteX297" fmla="*/ 94774 w 2028921"/>
                <a:gd name="connsiteY297" fmla="*/ 43244 h 309658"/>
                <a:gd name="connsiteX298" fmla="*/ 72771 w 2028921"/>
                <a:gd name="connsiteY298" fmla="*/ 41149 h 309658"/>
                <a:gd name="connsiteX299" fmla="*/ 59531 w 2028921"/>
                <a:gd name="connsiteY299" fmla="*/ 42768 h 309658"/>
                <a:gd name="connsiteX300" fmla="*/ 47530 w 2028921"/>
                <a:gd name="connsiteY300" fmla="*/ 48197 h 309658"/>
                <a:gd name="connsiteX301" fmla="*/ 38767 w 2028921"/>
                <a:gd name="connsiteY301" fmla="*/ 58008 h 309658"/>
                <a:gd name="connsiteX302" fmla="*/ 35338 w 2028921"/>
                <a:gd name="connsiteY302" fmla="*/ 73152 h 309658"/>
                <a:gd name="connsiteX303" fmla="*/ 37719 w 2028921"/>
                <a:gd name="connsiteY303" fmla="*/ 84868 h 309658"/>
                <a:gd name="connsiteX304" fmla="*/ 44101 w 2028921"/>
                <a:gd name="connsiteY304" fmla="*/ 93726 h 309658"/>
                <a:gd name="connsiteX305" fmla="*/ 53435 w 2028921"/>
                <a:gd name="connsiteY305" fmla="*/ 100775 h 309658"/>
                <a:gd name="connsiteX306" fmla="*/ 64389 w 2028921"/>
                <a:gd name="connsiteY306" fmla="*/ 106776 h 309658"/>
                <a:gd name="connsiteX307" fmla="*/ 81534 w 2028921"/>
                <a:gd name="connsiteY307" fmla="*/ 114967 h 309658"/>
                <a:gd name="connsiteX308" fmla="*/ 98869 w 2028921"/>
                <a:gd name="connsiteY308" fmla="*/ 124587 h 309658"/>
                <a:gd name="connsiteX309" fmla="*/ 112776 w 2028921"/>
                <a:gd name="connsiteY309" fmla="*/ 136494 h 309658"/>
                <a:gd name="connsiteX310" fmla="*/ 122111 w 2028921"/>
                <a:gd name="connsiteY310" fmla="*/ 152496 h 309658"/>
                <a:gd name="connsiteX311" fmla="*/ 125540 w 2028921"/>
                <a:gd name="connsiteY311" fmla="*/ 174403 h 309658"/>
                <a:gd name="connsiteX312" fmla="*/ 119920 w 2028921"/>
                <a:gd name="connsiteY312" fmla="*/ 203359 h 309658"/>
                <a:gd name="connsiteX313" fmla="*/ 104489 w 2028921"/>
                <a:gd name="connsiteY313" fmla="*/ 223457 h 309658"/>
                <a:gd name="connsiteX314" fmla="*/ 81534 w 2028921"/>
                <a:gd name="connsiteY314" fmla="*/ 235268 h 309658"/>
                <a:gd name="connsiteX315" fmla="*/ 53435 w 2028921"/>
                <a:gd name="connsiteY315" fmla="*/ 239173 h 309658"/>
                <a:gd name="connsiteX316" fmla="*/ 27337 w 2028921"/>
                <a:gd name="connsiteY316" fmla="*/ 237078 h 309658"/>
                <a:gd name="connsiteX317" fmla="*/ 0 w 2028921"/>
                <a:gd name="connsiteY317" fmla="*/ 230410 h 309658"/>
                <a:gd name="connsiteX318" fmla="*/ 1524 w 2028921"/>
                <a:gd name="connsiteY318" fmla="*/ 199930 h 309658"/>
                <a:gd name="connsiteX319" fmla="*/ 25717 w 2028921"/>
                <a:gd name="connsiteY319" fmla="*/ 209360 h 309658"/>
                <a:gd name="connsiteX320" fmla="*/ 51816 w 2028921"/>
                <a:gd name="connsiteY320" fmla="*/ 212313 h 309658"/>
                <a:gd name="connsiteX321" fmla="*/ 66484 w 2028921"/>
                <a:gd name="connsiteY321" fmla="*/ 210312 h 309658"/>
                <a:gd name="connsiteX322" fmla="*/ 79248 w 2028921"/>
                <a:gd name="connsiteY322" fmla="*/ 204121 h 309658"/>
                <a:gd name="connsiteX323" fmla="*/ 88297 w 2028921"/>
                <a:gd name="connsiteY323" fmla="*/ 192977 h 309658"/>
                <a:gd name="connsiteX324" fmla="*/ 91726 w 2028921"/>
                <a:gd name="connsiteY324" fmla="*/ 176308 h 309658"/>
                <a:gd name="connsiteX325" fmla="*/ 88773 w 2028921"/>
                <a:gd name="connsiteY325" fmla="*/ 162783 h 309658"/>
                <a:gd name="connsiteX326" fmla="*/ 80963 w 2028921"/>
                <a:gd name="connsiteY326" fmla="*/ 152496 h 309658"/>
                <a:gd name="connsiteX327" fmla="*/ 69532 w 2028921"/>
                <a:gd name="connsiteY327" fmla="*/ 144304 h 309658"/>
                <a:gd name="connsiteX328" fmla="*/ 55816 w 2028921"/>
                <a:gd name="connsiteY328" fmla="*/ 137160 h 309658"/>
                <a:gd name="connsiteX329" fmla="*/ 39624 w 2028921"/>
                <a:gd name="connsiteY329" fmla="*/ 128969 h 309658"/>
                <a:gd name="connsiteX330" fmla="*/ 25241 w 2028921"/>
                <a:gd name="connsiteY330" fmla="*/ 120301 h 309658"/>
                <a:gd name="connsiteX331" fmla="*/ 13335 w 2028921"/>
                <a:gd name="connsiteY331" fmla="*/ 109157 h 309658"/>
                <a:gd name="connsiteX332" fmla="*/ 5429 w 2028921"/>
                <a:gd name="connsiteY332" fmla="*/ 94488 h 309658"/>
                <a:gd name="connsiteX333" fmla="*/ 2476 w 2028921"/>
                <a:gd name="connsiteY333" fmla="*/ 75058 h 309658"/>
                <a:gd name="connsiteX334" fmla="*/ 8572 w 2028921"/>
                <a:gd name="connsiteY334" fmla="*/ 47435 h 309658"/>
                <a:gd name="connsiteX335" fmla="*/ 24479 w 2028921"/>
                <a:gd name="connsiteY335" fmla="*/ 28480 h 309658"/>
                <a:gd name="connsiteX336" fmla="*/ 46482 w 2028921"/>
                <a:gd name="connsiteY336" fmla="*/ 17717 h 309658"/>
                <a:gd name="connsiteX337" fmla="*/ 70866 w 2028921"/>
                <a:gd name="connsiteY337" fmla="*/ 14288 h 309658"/>
                <a:gd name="connsiteX338" fmla="*/ 499872 w 2028921"/>
                <a:gd name="connsiteY338" fmla="*/ 6858 h 309658"/>
                <a:gd name="connsiteX339" fmla="*/ 531114 w 2028921"/>
                <a:gd name="connsiteY339" fmla="*/ 6858 h 309658"/>
                <a:gd name="connsiteX340" fmla="*/ 531114 w 2028921"/>
                <a:gd name="connsiteY340" fmla="*/ 38576 h 309658"/>
                <a:gd name="connsiteX341" fmla="*/ 499872 w 2028921"/>
                <a:gd name="connsiteY341" fmla="*/ 38576 h 309658"/>
                <a:gd name="connsiteX342" fmla="*/ 1996155 w 2028921"/>
                <a:gd name="connsiteY342" fmla="*/ 0 h 309658"/>
                <a:gd name="connsiteX343" fmla="*/ 2027397 w 2028921"/>
                <a:gd name="connsiteY343" fmla="*/ 0 h 309658"/>
                <a:gd name="connsiteX344" fmla="*/ 2027397 w 2028921"/>
                <a:gd name="connsiteY344" fmla="*/ 186595 h 309658"/>
                <a:gd name="connsiteX345" fmla="*/ 2027873 w 2028921"/>
                <a:gd name="connsiteY345" fmla="*/ 212217 h 309658"/>
                <a:gd name="connsiteX346" fmla="*/ 2028921 w 2028921"/>
                <a:gd name="connsiteY346" fmla="*/ 235553 h 309658"/>
                <a:gd name="connsiteX347" fmla="*/ 1999964 w 2028921"/>
                <a:gd name="connsiteY347" fmla="*/ 235553 h 309658"/>
                <a:gd name="connsiteX348" fmla="*/ 1998060 w 2028921"/>
                <a:gd name="connsiteY348" fmla="*/ 208407 h 309658"/>
                <a:gd name="connsiteX349" fmla="*/ 1978057 w 2028921"/>
                <a:gd name="connsiteY349" fmla="*/ 231648 h 309658"/>
                <a:gd name="connsiteX350" fmla="*/ 1949006 w 2028921"/>
                <a:gd name="connsiteY350" fmla="*/ 239173 h 309658"/>
                <a:gd name="connsiteX351" fmla="*/ 1919002 w 2028921"/>
                <a:gd name="connsiteY351" fmla="*/ 231838 h 309658"/>
                <a:gd name="connsiteX352" fmla="*/ 1899000 w 2028921"/>
                <a:gd name="connsiteY352" fmla="*/ 212407 h 309658"/>
                <a:gd name="connsiteX353" fmla="*/ 1887760 w 2028921"/>
                <a:gd name="connsiteY353" fmla="*/ 184975 h 309658"/>
                <a:gd name="connsiteX354" fmla="*/ 1884331 w 2028921"/>
                <a:gd name="connsiteY354" fmla="*/ 153257 h 309658"/>
                <a:gd name="connsiteX355" fmla="*/ 1887760 w 2028921"/>
                <a:gd name="connsiteY355" fmla="*/ 121729 h 309658"/>
                <a:gd name="connsiteX356" fmla="*/ 1899000 w 2028921"/>
                <a:gd name="connsiteY356" fmla="*/ 94774 h 309658"/>
                <a:gd name="connsiteX357" fmla="*/ 1919002 w 2028921"/>
                <a:gd name="connsiteY357" fmla="*/ 76009 h 309658"/>
                <a:gd name="connsiteX358" fmla="*/ 1949006 w 2028921"/>
                <a:gd name="connsiteY358" fmla="*/ 68961 h 309658"/>
                <a:gd name="connsiteX359" fmla="*/ 1977105 w 2028921"/>
                <a:gd name="connsiteY359" fmla="*/ 76771 h 309658"/>
                <a:gd name="connsiteX360" fmla="*/ 1996155 w 2028921"/>
                <a:gd name="connsiteY360" fmla="*/ 99346 h 309658"/>
                <a:gd name="connsiteX361" fmla="*/ 1037368 w 2028921"/>
                <a:gd name="connsiteY361" fmla="*/ 0 h 309658"/>
                <a:gd name="connsiteX362" fmla="*/ 1068610 w 2028921"/>
                <a:gd name="connsiteY362" fmla="*/ 0 h 309658"/>
                <a:gd name="connsiteX363" fmla="*/ 1068610 w 2028921"/>
                <a:gd name="connsiteY363" fmla="*/ 99346 h 309658"/>
                <a:gd name="connsiteX364" fmla="*/ 1087946 w 2028921"/>
                <a:gd name="connsiteY364" fmla="*/ 76771 h 309658"/>
                <a:gd name="connsiteX365" fmla="*/ 1116330 w 2028921"/>
                <a:gd name="connsiteY365" fmla="*/ 68961 h 309658"/>
                <a:gd name="connsiteX366" fmla="*/ 1146334 w 2028921"/>
                <a:gd name="connsiteY366" fmla="*/ 76009 h 309658"/>
                <a:gd name="connsiteX367" fmla="*/ 1166146 w 2028921"/>
                <a:gd name="connsiteY367" fmla="*/ 94774 h 309658"/>
                <a:gd name="connsiteX368" fmla="*/ 1177100 w 2028921"/>
                <a:gd name="connsiteY368" fmla="*/ 121729 h 309658"/>
                <a:gd name="connsiteX369" fmla="*/ 1180338 w 2028921"/>
                <a:gd name="connsiteY369" fmla="*/ 153257 h 309658"/>
                <a:gd name="connsiteX370" fmla="*/ 1176909 w 2028921"/>
                <a:gd name="connsiteY370" fmla="*/ 184975 h 309658"/>
                <a:gd name="connsiteX371" fmla="*/ 1165670 w 2028921"/>
                <a:gd name="connsiteY371" fmla="*/ 212407 h 309658"/>
                <a:gd name="connsiteX372" fmla="*/ 1145667 w 2028921"/>
                <a:gd name="connsiteY372" fmla="*/ 231838 h 309658"/>
                <a:gd name="connsiteX373" fmla="*/ 1115664 w 2028921"/>
                <a:gd name="connsiteY373" fmla="*/ 239173 h 309658"/>
                <a:gd name="connsiteX374" fmla="*/ 1086803 w 2028921"/>
                <a:gd name="connsiteY374" fmla="*/ 231648 h 309658"/>
                <a:gd name="connsiteX375" fmla="*/ 1066705 w 2028921"/>
                <a:gd name="connsiteY375" fmla="*/ 208407 h 309658"/>
                <a:gd name="connsiteX376" fmla="*/ 1066038 w 2028921"/>
                <a:gd name="connsiteY376" fmla="*/ 235553 h 309658"/>
                <a:gd name="connsiteX377" fmla="*/ 1037368 w 2028921"/>
                <a:gd name="connsiteY377" fmla="*/ 235553 h 309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</a:cxnLst>
              <a:rect l="l" t="t" r="r" b="b"/>
              <a:pathLst>
                <a:path w="2028921" h="309658">
                  <a:moveTo>
                    <a:pt x="1957197" y="94202"/>
                  </a:moveTo>
                  <a:cubicBezTo>
                    <a:pt x="1949101" y="94202"/>
                    <a:pt x="1942529" y="96012"/>
                    <a:pt x="1937576" y="99631"/>
                  </a:cubicBezTo>
                  <a:cubicBezTo>
                    <a:pt x="1932623" y="103251"/>
                    <a:pt x="1928622" y="107918"/>
                    <a:pt x="1925670" y="113633"/>
                  </a:cubicBezTo>
                  <a:cubicBezTo>
                    <a:pt x="1922717" y="119444"/>
                    <a:pt x="1920812" y="125825"/>
                    <a:pt x="1919764" y="132874"/>
                  </a:cubicBezTo>
                  <a:cubicBezTo>
                    <a:pt x="1918716" y="139922"/>
                    <a:pt x="1918240" y="146875"/>
                    <a:pt x="1918240" y="153638"/>
                  </a:cubicBezTo>
                  <a:cubicBezTo>
                    <a:pt x="1918240" y="160401"/>
                    <a:pt x="1918812" y="167354"/>
                    <a:pt x="1919955" y="174403"/>
                  </a:cubicBezTo>
                  <a:cubicBezTo>
                    <a:pt x="1921098" y="181356"/>
                    <a:pt x="1923098" y="187833"/>
                    <a:pt x="1925955" y="193738"/>
                  </a:cubicBezTo>
                  <a:cubicBezTo>
                    <a:pt x="1928908" y="199644"/>
                    <a:pt x="1932909" y="204502"/>
                    <a:pt x="1937957" y="208312"/>
                  </a:cubicBezTo>
                  <a:cubicBezTo>
                    <a:pt x="1943100" y="212122"/>
                    <a:pt x="1949577" y="214027"/>
                    <a:pt x="1957483" y="214027"/>
                  </a:cubicBezTo>
                  <a:cubicBezTo>
                    <a:pt x="1965008" y="214027"/>
                    <a:pt x="1971294" y="212026"/>
                    <a:pt x="1976343" y="208121"/>
                  </a:cubicBezTo>
                  <a:cubicBezTo>
                    <a:pt x="1981486" y="204216"/>
                    <a:pt x="1985582" y="199263"/>
                    <a:pt x="1988630" y="193453"/>
                  </a:cubicBezTo>
                  <a:cubicBezTo>
                    <a:pt x="1991773" y="187547"/>
                    <a:pt x="1993964" y="181070"/>
                    <a:pt x="1995202" y="174022"/>
                  </a:cubicBezTo>
                  <a:cubicBezTo>
                    <a:pt x="1996440" y="166973"/>
                    <a:pt x="1997107" y="160115"/>
                    <a:pt x="1997107" y="153638"/>
                  </a:cubicBezTo>
                  <a:cubicBezTo>
                    <a:pt x="1997107" y="147066"/>
                    <a:pt x="1996440" y="140398"/>
                    <a:pt x="1995107" y="133350"/>
                  </a:cubicBezTo>
                  <a:cubicBezTo>
                    <a:pt x="1993773" y="126397"/>
                    <a:pt x="1991487" y="119920"/>
                    <a:pt x="1988344" y="114109"/>
                  </a:cubicBezTo>
                  <a:cubicBezTo>
                    <a:pt x="1985201" y="108204"/>
                    <a:pt x="1981105" y="103441"/>
                    <a:pt x="1976057" y="99727"/>
                  </a:cubicBezTo>
                  <a:cubicBezTo>
                    <a:pt x="1970913" y="96012"/>
                    <a:pt x="1964627" y="94202"/>
                    <a:pt x="1957197" y="94202"/>
                  </a:cubicBezTo>
                  <a:close/>
                  <a:moveTo>
                    <a:pt x="821437" y="94107"/>
                  </a:moveTo>
                  <a:cubicBezTo>
                    <a:pt x="813340" y="94107"/>
                    <a:pt x="806768" y="95917"/>
                    <a:pt x="801625" y="99536"/>
                  </a:cubicBezTo>
                  <a:cubicBezTo>
                    <a:pt x="796481" y="103156"/>
                    <a:pt x="792481" y="107823"/>
                    <a:pt x="789623" y="113538"/>
                  </a:cubicBezTo>
                  <a:cubicBezTo>
                    <a:pt x="786670" y="119348"/>
                    <a:pt x="784765" y="125730"/>
                    <a:pt x="783718" y="132779"/>
                  </a:cubicBezTo>
                  <a:cubicBezTo>
                    <a:pt x="782670" y="139827"/>
                    <a:pt x="782194" y="146780"/>
                    <a:pt x="782194" y="153543"/>
                  </a:cubicBezTo>
                  <a:cubicBezTo>
                    <a:pt x="782194" y="159830"/>
                    <a:pt x="782765" y="166402"/>
                    <a:pt x="783908" y="173165"/>
                  </a:cubicBezTo>
                  <a:cubicBezTo>
                    <a:pt x="784956" y="179927"/>
                    <a:pt x="786956" y="186119"/>
                    <a:pt x="789909" y="191738"/>
                  </a:cubicBezTo>
                  <a:cubicBezTo>
                    <a:pt x="792862" y="197167"/>
                    <a:pt x="796767" y="201644"/>
                    <a:pt x="801815" y="205169"/>
                  </a:cubicBezTo>
                  <a:cubicBezTo>
                    <a:pt x="806768" y="208693"/>
                    <a:pt x="813245" y="210407"/>
                    <a:pt x="821151" y="210407"/>
                  </a:cubicBezTo>
                  <a:cubicBezTo>
                    <a:pt x="828676" y="210407"/>
                    <a:pt x="834962" y="208598"/>
                    <a:pt x="840010" y="204978"/>
                  </a:cubicBezTo>
                  <a:cubicBezTo>
                    <a:pt x="845154" y="201358"/>
                    <a:pt x="849250" y="196787"/>
                    <a:pt x="852298" y="191262"/>
                  </a:cubicBezTo>
                  <a:cubicBezTo>
                    <a:pt x="855441" y="185738"/>
                    <a:pt x="857632" y="179641"/>
                    <a:pt x="859060" y="172974"/>
                  </a:cubicBezTo>
                  <a:cubicBezTo>
                    <a:pt x="860394" y="166307"/>
                    <a:pt x="861061" y="159830"/>
                    <a:pt x="861061" y="153543"/>
                  </a:cubicBezTo>
                  <a:cubicBezTo>
                    <a:pt x="861061" y="146971"/>
                    <a:pt x="860394" y="140303"/>
                    <a:pt x="859156" y="133255"/>
                  </a:cubicBezTo>
                  <a:cubicBezTo>
                    <a:pt x="857918" y="126301"/>
                    <a:pt x="855727" y="119824"/>
                    <a:pt x="852584" y="114014"/>
                  </a:cubicBezTo>
                  <a:cubicBezTo>
                    <a:pt x="849440" y="108109"/>
                    <a:pt x="845345" y="103346"/>
                    <a:pt x="840296" y="99632"/>
                  </a:cubicBezTo>
                  <a:cubicBezTo>
                    <a:pt x="835248" y="95917"/>
                    <a:pt x="828866" y="94107"/>
                    <a:pt x="821437" y="94107"/>
                  </a:cubicBezTo>
                  <a:close/>
                  <a:moveTo>
                    <a:pt x="1107663" y="93916"/>
                  </a:moveTo>
                  <a:cubicBezTo>
                    <a:pt x="1100138" y="93916"/>
                    <a:pt x="1093851" y="95726"/>
                    <a:pt x="1088803" y="99441"/>
                  </a:cubicBezTo>
                  <a:cubicBezTo>
                    <a:pt x="1083755" y="103156"/>
                    <a:pt x="1079564" y="107918"/>
                    <a:pt x="1076516" y="113633"/>
                  </a:cubicBezTo>
                  <a:cubicBezTo>
                    <a:pt x="1073372" y="119444"/>
                    <a:pt x="1071182" y="125730"/>
                    <a:pt x="1069753" y="132779"/>
                  </a:cubicBezTo>
                  <a:cubicBezTo>
                    <a:pt x="1068420" y="139732"/>
                    <a:pt x="1067753" y="146495"/>
                    <a:pt x="1067753" y="153067"/>
                  </a:cubicBezTo>
                  <a:cubicBezTo>
                    <a:pt x="1067753" y="159639"/>
                    <a:pt x="1068420" y="166402"/>
                    <a:pt x="1069658" y="173450"/>
                  </a:cubicBezTo>
                  <a:cubicBezTo>
                    <a:pt x="1070801" y="180689"/>
                    <a:pt x="1072992" y="187262"/>
                    <a:pt x="1076135" y="193357"/>
                  </a:cubicBezTo>
                  <a:cubicBezTo>
                    <a:pt x="1079278" y="199263"/>
                    <a:pt x="1083374" y="204121"/>
                    <a:pt x="1088422" y="208026"/>
                  </a:cubicBezTo>
                  <a:cubicBezTo>
                    <a:pt x="1093566" y="211931"/>
                    <a:pt x="1099852" y="213931"/>
                    <a:pt x="1107281" y="213931"/>
                  </a:cubicBezTo>
                  <a:cubicBezTo>
                    <a:pt x="1115187" y="213931"/>
                    <a:pt x="1121664" y="212026"/>
                    <a:pt x="1126808" y="208216"/>
                  </a:cubicBezTo>
                  <a:cubicBezTo>
                    <a:pt x="1131856" y="204406"/>
                    <a:pt x="1135952" y="199549"/>
                    <a:pt x="1138809" y="193643"/>
                  </a:cubicBezTo>
                  <a:cubicBezTo>
                    <a:pt x="1141667" y="187738"/>
                    <a:pt x="1143762" y="181261"/>
                    <a:pt x="1144905" y="174022"/>
                  </a:cubicBezTo>
                  <a:cubicBezTo>
                    <a:pt x="1146048" y="166878"/>
                    <a:pt x="1146620" y="159829"/>
                    <a:pt x="1146620" y="153067"/>
                  </a:cubicBezTo>
                  <a:cubicBezTo>
                    <a:pt x="1146620" y="146304"/>
                    <a:pt x="1146143" y="139446"/>
                    <a:pt x="1145096" y="132493"/>
                  </a:cubicBezTo>
                  <a:cubicBezTo>
                    <a:pt x="1144048" y="125539"/>
                    <a:pt x="1142048" y="119158"/>
                    <a:pt x="1139190" y="113347"/>
                  </a:cubicBezTo>
                  <a:cubicBezTo>
                    <a:pt x="1136238" y="107537"/>
                    <a:pt x="1132332" y="102870"/>
                    <a:pt x="1127284" y="99346"/>
                  </a:cubicBezTo>
                  <a:cubicBezTo>
                    <a:pt x="1122331" y="95726"/>
                    <a:pt x="1115759" y="93916"/>
                    <a:pt x="1107663" y="93916"/>
                  </a:cubicBezTo>
                  <a:close/>
                  <a:moveTo>
                    <a:pt x="1598676" y="93536"/>
                  </a:moveTo>
                  <a:cubicBezTo>
                    <a:pt x="1590770" y="93536"/>
                    <a:pt x="1584103" y="95250"/>
                    <a:pt x="1578673" y="98774"/>
                  </a:cubicBezTo>
                  <a:cubicBezTo>
                    <a:pt x="1573244" y="102299"/>
                    <a:pt x="1568863" y="106871"/>
                    <a:pt x="1565434" y="112681"/>
                  </a:cubicBezTo>
                  <a:cubicBezTo>
                    <a:pt x="1562005" y="118491"/>
                    <a:pt x="1559528" y="124873"/>
                    <a:pt x="1557909" y="131921"/>
                  </a:cubicBezTo>
                  <a:cubicBezTo>
                    <a:pt x="1556385" y="138970"/>
                    <a:pt x="1555528" y="146114"/>
                    <a:pt x="1555528" y="153353"/>
                  </a:cubicBezTo>
                  <a:cubicBezTo>
                    <a:pt x="1555528" y="160782"/>
                    <a:pt x="1556289" y="168116"/>
                    <a:pt x="1557909" y="175450"/>
                  </a:cubicBezTo>
                  <a:cubicBezTo>
                    <a:pt x="1559338" y="182594"/>
                    <a:pt x="1561814" y="189166"/>
                    <a:pt x="1565148" y="195072"/>
                  </a:cubicBezTo>
                  <a:cubicBezTo>
                    <a:pt x="1568672" y="200692"/>
                    <a:pt x="1573149" y="205359"/>
                    <a:pt x="1578578" y="208979"/>
                  </a:cubicBezTo>
                  <a:cubicBezTo>
                    <a:pt x="1584007" y="212598"/>
                    <a:pt x="1590675" y="214408"/>
                    <a:pt x="1598580" y="214408"/>
                  </a:cubicBezTo>
                  <a:cubicBezTo>
                    <a:pt x="1606296" y="214408"/>
                    <a:pt x="1612868" y="212598"/>
                    <a:pt x="1618392" y="208979"/>
                  </a:cubicBezTo>
                  <a:cubicBezTo>
                    <a:pt x="1623917" y="205359"/>
                    <a:pt x="1628394" y="200787"/>
                    <a:pt x="1631823" y="195072"/>
                  </a:cubicBezTo>
                  <a:cubicBezTo>
                    <a:pt x="1635252" y="189357"/>
                    <a:pt x="1637728" y="182975"/>
                    <a:pt x="1639347" y="175641"/>
                  </a:cubicBezTo>
                  <a:cubicBezTo>
                    <a:pt x="1640872" y="168307"/>
                    <a:pt x="1641729" y="160877"/>
                    <a:pt x="1641729" y="153257"/>
                  </a:cubicBezTo>
                  <a:cubicBezTo>
                    <a:pt x="1641729" y="146114"/>
                    <a:pt x="1640967" y="138874"/>
                    <a:pt x="1639538" y="131731"/>
                  </a:cubicBezTo>
                  <a:cubicBezTo>
                    <a:pt x="1638109" y="124587"/>
                    <a:pt x="1635633" y="118110"/>
                    <a:pt x="1632204" y="112490"/>
                  </a:cubicBezTo>
                  <a:cubicBezTo>
                    <a:pt x="1628775" y="106871"/>
                    <a:pt x="1624298" y="102203"/>
                    <a:pt x="1618964" y="98774"/>
                  </a:cubicBezTo>
                  <a:cubicBezTo>
                    <a:pt x="1613535" y="95250"/>
                    <a:pt x="1606772" y="93536"/>
                    <a:pt x="1598676" y="93536"/>
                  </a:cubicBezTo>
                  <a:close/>
                  <a:moveTo>
                    <a:pt x="1282922" y="91440"/>
                  </a:moveTo>
                  <a:cubicBezTo>
                    <a:pt x="1276255" y="91440"/>
                    <a:pt x="1270445" y="92869"/>
                    <a:pt x="1265587" y="95822"/>
                  </a:cubicBezTo>
                  <a:cubicBezTo>
                    <a:pt x="1260729" y="98775"/>
                    <a:pt x="1256538" y="102585"/>
                    <a:pt x="1253299" y="107252"/>
                  </a:cubicBezTo>
                  <a:cubicBezTo>
                    <a:pt x="1249966" y="111919"/>
                    <a:pt x="1247489" y="117253"/>
                    <a:pt x="1245775" y="123063"/>
                  </a:cubicBezTo>
                  <a:cubicBezTo>
                    <a:pt x="1244156" y="128969"/>
                    <a:pt x="1243203" y="134779"/>
                    <a:pt x="1243012" y="140685"/>
                  </a:cubicBezTo>
                  <a:lnTo>
                    <a:pt x="1317776" y="140685"/>
                  </a:lnTo>
                  <a:lnTo>
                    <a:pt x="1317784" y="140780"/>
                  </a:lnTo>
                  <a:lnTo>
                    <a:pt x="1317784" y="140685"/>
                  </a:lnTo>
                  <a:lnTo>
                    <a:pt x="1317776" y="140685"/>
                  </a:lnTo>
                  <a:lnTo>
                    <a:pt x="1316260" y="122682"/>
                  </a:lnTo>
                  <a:cubicBezTo>
                    <a:pt x="1315212" y="116682"/>
                    <a:pt x="1313402" y="111443"/>
                    <a:pt x="1310831" y="106871"/>
                  </a:cubicBezTo>
                  <a:cubicBezTo>
                    <a:pt x="1308259" y="102299"/>
                    <a:pt x="1304735" y="98584"/>
                    <a:pt x="1300258" y="95727"/>
                  </a:cubicBezTo>
                  <a:cubicBezTo>
                    <a:pt x="1295781" y="92869"/>
                    <a:pt x="1289971" y="91440"/>
                    <a:pt x="1282922" y="91440"/>
                  </a:cubicBezTo>
                  <a:close/>
                  <a:moveTo>
                    <a:pt x="396621" y="91440"/>
                  </a:moveTo>
                  <a:cubicBezTo>
                    <a:pt x="389954" y="91440"/>
                    <a:pt x="384144" y="92869"/>
                    <a:pt x="379286" y="95822"/>
                  </a:cubicBezTo>
                  <a:cubicBezTo>
                    <a:pt x="374428" y="98775"/>
                    <a:pt x="370237" y="102585"/>
                    <a:pt x="366998" y="107252"/>
                  </a:cubicBezTo>
                  <a:cubicBezTo>
                    <a:pt x="363665" y="111919"/>
                    <a:pt x="361188" y="117253"/>
                    <a:pt x="359474" y="123063"/>
                  </a:cubicBezTo>
                  <a:cubicBezTo>
                    <a:pt x="357854" y="128969"/>
                    <a:pt x="356902" y="134779"/>
                    <a:pt x="356711" y="140685"/>
                  </a:cubicBezTo>
                  <a:lnTo>
                    <a:pt x="431475" y="140685"/>
                  </a:lnTo>
                  <a:lnTo>
                    <a:pt x="431483" y="140780"/>
                  </a:lnTo>
                  <a:lnTo>
                    <a:pt x="431483" y="140685"/>
                  </a:lnTo>
                  <a:lnTo>
                    <a:pt x="431475" y="140685"/>
                  </a:lnTo>
                  <a:lnTo>
                    <a:pt x="429959" y="122682"/>
                  </a:lnTo>
                  <a:cubicBezTo>
                    <a:pt x="428911" y="116682"/>
                    <a:pt x="427101" y="111443"/>
                    <a:pt x="424529" y="106871"/>
                  </a:cubicBezTo>
                  <a:cubicBezTo>
                    <a:pt x="421958" y="102299"/>
                    <a:pt x="418434" y="98584"/>
                    <a:pt x="413957" y="95727"/>
                  </a:cubicBezTo>
                  <a:cubicBezTo>
                    <a:pt x="409480" y="92869"/>
                    <a:pt x="403670" y="91440"/>
                    <a:pt x="396621" y="91440"/>
                  </a:cubicBezTo>
                  <a:close/>
                  <a:moveTo>
                    <a:pt x="230505" y="91440"/>
                  </a:moveTo>
                  <a:cubicBezTo>
                    <a:pt x="223838" y="91440"/>
                    <a:pt x="218028" y="92869"/>
                    <a:pt x="213170" y="95822"/>
                  </a:cubicBezTo>
                  <a:cubicBezTo>
                    <a:pt x="208312" y="98775"/>
                    <a:pt x="204216" y="102585"/>
                    <a:pt x="200883" y="107252"/>
                  </a:cubicBezTo>
                  <a:cubicBezTo>
                    <a:pt x="197549" y="111919"/>
                    <a:pt x="195072" y="117253"/>
                    <a:pt x="193358" y="123063"/>
                  </a:cubicBezTo>
                  <a:cubicBezTo>
                    <a:pt x="191643" y="128969"/>
                    <a:pt x="190786" y="134779"/>
                    <a:pt x="190596" y="140685"/>
                  </a:cubicBezTo>
                  <a:lnTo>
                    <a:pt x="265359" y="140685"/>
                  </a:lnTo>
                  <a:lnTo>
                    <a:pt x="265367" y="140780"/>
                  </a:lnTo>
                  <a:lnTo>
                    <a:pt x="265367" y="140685"/>
                  </a:lnTo>
                  <a:lnTo>
                    <a:pt x="265359" y="140685"/>
                  </a:lnTo>
                  <a:lnTo>
                    <a:pt x="263843" y="122682"/>
                  </a:lnTo>
                  <a:cubicBezTo>
                    <a:pt x="262795" y="116682"/>
                    <a:pt x="260985" y="111443"/>
                    <a:pt x="258413" y="106871"/>
                  </a:cubicBezTo>
                  <a:cubicBezTo>
                    <a:pt x="255842" y="102299"/>
                    <a:pt x="252318" y="98584"/>
                    <a:pt x="247841" y="95727"/>
                  </a:cubicBezTo>
                  <a:cubicBezTo>
                    <a:pt x="243364" y="92869"/>
                    <a:pt x="237554" y="91440"/>
                    <a:pt x="230505" y="91440"/>
                  </a:cubicBezTo>
                  <a:close/>
                  <a:moveTo>
                    <a:pt x="499872" y="72199"/>
                  </a:moveTo>
                  <a:lnTo>
                    <a:pt x="531114" y="72199"/>
                  </a:lnTo>
                  <a:lnTo>
                    <a:pt x="531114" y="235553"/>
                  </a:lnTo>
                  <a:lnTo>
                    <a:pt x="499872" y="235553"/>
                  </a:lnTo>
                  <a:close/>
                  <a:moveTo>
                    <a:pt x="1364361" y="72104"/>
                  </a:moveTo>
                  <a:lnTo>
                    <a:pt x="1398365" y="72104"/>
                  </a:lnTo>
                  <a:lnTo>
                    <a:pt x="1436465" y="206406"/>
                  </a:lnTo>
                  <a:lnTo>
                    <a:pt x="1473899" y="72104"/>
                  </a:lnTo>
                  <a:lnTo>
                    <a:pt x="1505712" y="72104"/>
                  </a:lnTo>
                  <a:lnTo>
                    <a:pt x="1446086" y="257365"/>
                  </a:lnTo>
                  <a:cubicBezTo>
                    <a:pt x="1443990" y="263652"/>
                    <a:pt x="1441609" y="269938"/>
                    <a:pt x="1438942" y="276129"/>
                  </a:cubicBezTo>
                  <a:cubicBezTo>
                    <a:pt x="1436275" y="282321"/>
                    <a:pt x="1432941" y="287940"/>
                    <a:pt x="1428940" y="292988"/>
                  </a:cubicBezTo>
                  <a:cubicBezTo>
                    <a:pt x="1424940" y="298037"/>
                    <a:pt x="1420178" y="302037"/>
                    <a:pt x="1414462" y="305085"/>
                  </a:cubicBezTo>
                  <a:cubicBezTo>
                    <a:pt x="1408748" y="308133"/>
                    <a:pt x="1401794" y="309657"/>
                    <a:pt x="1393698" y="309657"/>
                  </a:cubicBezTo>
                  <a:cubicBezTo>
                    <a:pt x="1385126" y="309657"/>
                    <a:pt x="1377601" y="308895"/>
                    <a:pt x="1370933" y="307371"/>
                  </a:cubicBezTo>
                  <a:lnTo>
                    <a:pt x="1372838" y="282225"/>
                  </a:lnTo>
                  <a:cubicBezTo>
                    <a:pt x="1377791" y="283750"/>
                    <a:pt x="1382935" y="284511"/>
                    <a:pt x="1388174" y="284511"/>
                  </a:cubicBezTo>
                  <a:cubicBezTo>
                    <a:pt x="1396079" y="284511"/>
                    <a:pt x="1402080" y="281749"/>
                    <a:pt x="1406081" y="276320"/>
                  </a:cubicBezTo>
                  <a:cubicBezTo>
                    <a:pt x="1410176" y="270891"/>
                    <a:pt x="1413796" y="262604"/>
                    <a:pt x="1417129" y="251460"/>
                  </a:cubicBezTo>
                  <a:lnTo>
                    <a:pt x="1420273" y="241363"/>
                  </a:lnTo>
                  <a:close/>
                  <a:moveTo>
                    <a:pt x="1793272" y="68961"/>
                  </a:moveTo>
                  <a:cubicBezTo>
                    <a:pt x="1802797" y="68961"/>
                    <a:pt x="1810989" y="70485"/>
                    <a:pt x="1817752" y="73533"/>
                  </a:cubicBezTo>
                  <a:cubicBezTo>
                    <a:pt x="1824514" y="76581"/>
                    <a:pt x="1829944" y="80867"/>
                    <a:pt x="1833944" y="86392"/>
                  </a:cubicBezTo>
                  <a:cubicBezTo>
                    <a:pt x="1837945" y="91916"/>
                    <a:pt x="1840993" y="98679"/>
                    <a:pt x="1842802" y="106490"/>
                  </a:cubicBezTo>
                  <a:cubicBezTo>
                    <a:pt x="1844612" y="114300"/>
                    <a:pt x="1845565" y="122968"/>
                    <a:pt x="1845565" y="132302"/>
                  </a:cubicBezTo>
                  <a:lnTo>
                    <a:pt x="1845565" y="235553"/>
                  </a:lnTo>
                  <a:lnTo>
                    <a:pt x="1814037" y="235553"/>
                  </a:lnTo>
                  <a:lnTo>
                    <a:pt x="1814037" y="139160"/>
                  </a:lnTo>
                  <a:cubicBezTo>
                    <a:pt x="1814037" y="133540"/>
                    <a:pt x="1813656" y="127921"/>
                    <a:pt x="1812989" y="122491"/>
                  </a:cubicBezTo>
                  <a:cubicBezTo>
                    <a:pt x="1812227" y="117062"/>
                    <a:pt x="1810798" y="112300"/>
                    <a:pt x="1808608" y="108109"/>
                  </a:cubicBezTo>
                  <a:cubicBezTo>
                    <a:pt x="1806417" y="103918"/>
                    <a:pt x="1803274" y="100679"/>
                    <a:pt x="1799273" y="98107"/>
                  </a:cubicBezTo>
                  <a:cubicBezTo>
                    <a:pt x="1795177" y="95631"/>
                    <a:pt x="1789843" y="94393"/>
                    <a:pt x="1783176" y="94393"/>
                  </a:cubicBezTo>
                  <a:cubicBezTo>
                    <a:pt x="1775937" y="94393"/>
                    <a:pt x="1769841" y="95917"/>
                    <a:pt x="1764888" y="98965"/>
                  </a:cubicBezTo>
                  <a:cubicBezTo>
                    <a:pt x="1760030" y="102013"/>
                    <a:pt x="1756125" y="106013"/>
                    <a:pt x="1753172" y="110871"/>
                  </a:cubicBezTo>
                  <a:cubicBezTo>
                    <a:pt x="1750219" y="115729"/>
                    <a:pt x="1748219" y="121349"/>
                    <a:pt x="1746886" y="127540"/>
                  </a:cubicBezTo>
                  <a:cubicBezTo>
                    <a:pt x="1745647" y="133731"/>
                    <a:pt x="1744981" y="140113"/>
                    <a:pt x="1744981" y="146685"/>
                  </a:cubicBezTo>
                  <a:lnTo>
                    <a:pt x="1744981" y="235553"/>
                  </a:lnTo>
                  <a:lnTo>
                    <a:pt x="1713929" y="235553"/>
                  </a:lnTo>
                  <a:lnTo>
                    <a:pt x="1713929" y="109728"/>
                  </a:lnTo>
                  <a:cubicBezTo>
                    <a:pt x="1713929" y="103441"/>
                    <a:pt x="1713834" y="97155"/>
                    <a:pt x="1713643" y="90964"/>
                  </a:cubicBezTo>
                  <a:cubicBezTo>
                    <a:pt x="1713453" y="84773"/>
                    <a:pt x="1712977" y="78486"/>
                    <a:pt x="1712405" y="72199"/>
                  </a:cubicBezTo>
                  <a:lnTo>
                    <a:pt x="1741742" y="72199"/>
                  </a:lnTo>
                  <a:lnTo>
                    <a:pt x="1742695" y="100298"/>
                  </a:lnTo>
                  <a:cubicBezTo>
                    <a:pt x="1753553" y="79343"/>
                    <a:pt x="1770412" y="68961"/>
                    <a:pt x="1793272" y="68961"/>
                  </a:cubicBezTo>
                  <a:close/>
                  <a:moveTo>
                    <a:pt x="1598580" y="68961"/>
                  </a:moveTo>
                  <a:cubicBezTo>
                    <a:pt x="1610868" y="68961"/>
                    <a:pt x="1621726" y="70961"/>
                    <a:pt x="1631347" y="74962"/>
                  </a:cubicBezTo>
                  <a:cubicBezTo>
                    <a:pt x="1640872" y="78962"/>
                    <a:pt x="1648968" y="84677"/>
                    <a:pt x="1655540" y="91916"/>
                  </a:cubicBezTo>
                  <a:cubicBezTo>
                    <a:pt x="1662112" y="99250"/>
                    <a:pt x="1667065" y="108109"/>
                    <a:pt x="1670399" y="118586"/>
                  </a:cubicBezTo>
                  <a:cubicBezTo>
                    <a:pt x="1673733" y="129064"/>
                    <a:pt x="1675352" y="140589"/>
                    <a:pt x="1675352" y="153257"/>
                  </a:cubicBezTo>
                  <a:cubicBezTo>
                    <a:pt x="1675352" y="165640"/>
                    <a:pt x="1673638" y="177070"/>
                    <a:pt x="1670399" y="187547"/>
                  </a:cubicBezTo>
                  <a:cubicBezTo>
                    <a:pt x="1667065" y="198025"/>
                    <a:pt x="1662112" y="207074"/>
                    <a:pt x="1655540" y="214789"/>
                  </a:cubicBezTo>
                  <a:cubicBezTo>
                    <a:pt x="1648968" y="222504"/>
                    <a:pt x="1640872" y="228505"/>
                    <a:pt x="1631347" y="232791"/>
                  </a:cubicBezTo>
                  <a:cubicBezTo>
                    <a:pt x="1621726" y="237077"/>
                    <a:pt x="1610868" y="239173"/>
                    <a:pt x="1598580" y="239173"/>
                  </a:cubicBezTo>
                  <a:cubicBezTo>
                    <a:pt x="1585817" y="239173"/>
                    <a:pt x="1574768" y="237077"/>
                    <a:pt x="1565434" y="232886"/>
                  </a:cubicBezTo>
                  <a:cubicBezTo>
                    <a:pt x="1551051" y="226314"/>
                    <a:pt x="1540192" y="216122"/>
                    <a:pt x="1532858" y="202216"/>
                  </a:cubicBezTo>
                  <a:cubicBezTo>
                    <a:pt x="1525429" y="188309"/>
                    <a:pt x="1521809" y="171926"/>
                    <a:pt x="1521809" y="153257"/>
                  </a:cubicBezTo>
                  <a:cubicBezTo>
                    <a:pt x="1521809" y="140875"/>
                    <a:pt x="1523619" y="129445"/>
                    <a:pt x="1527238" y="119158"/>
                  </a:cubicBezTo>
                  <a:cubicBezTo>
                    <a:pt x="1530858" y="108775"/>
                    <a:pt x="1536001" y="99917"/>
                    <a:pt x="1542669" y="92488"/>
                  </a:cubicBezTo>
                  <a:cubicBezTo>
                    <a:pt x="1549336" y="85058"/>
                    <a:pt x="1557433" y="79343"/>
                    <a:pt x="1566862" y="75152"/>
                  </a:cubicBezTo>
                  <a:cubicBezTo>
                    <a:pt x="1576292" y="71057"/>
                    <a:pt x="1586865" y="68961"/>
                    <a:pt x="1598580" y="68961"/>
                  </a:cubicBezTo>
                  <a:close/>
                  <a:moveTo>
                    <a:pt x="812388" y="68961"/>
                  </a:moveTo>
                  <a:cubicBezTo>
                    <a:pt x="823247" y="68961"/>
                    <a:pt x="832867" y="71438"/>
                    <a:pt x="841249" y="76295"/>
                  </a:cubicBezTo>
                  <a:cubicBezTo>
                    <a:pt x="849631" y="81153"/>
                    <a:pt x="856393" y="88868"/>
                    <a:pt x="861347" y="99346"/>
                  </a:cubicBezTo>
                  <a:lnTo>
                    <a:pt x="861347" y="72199"/>
                  </a:lnTo>
                  <a:lnTo>
                    <a:pt x="891350" y="72199"/>
                  </a:lnTo>
                  <a:lnTo>
                    <a:pt x="891350" y="226409"/>
                  </a:lnTo>
                  <a:cubicBezTo>
                    <a:pt x="891350" y="253174"/>
                    <a:pt x="884968" y="273749"/>
                    <a:pt x="872300" y="288131"/>
                  </a:cubicBezTo>
                  <a:cubicBezTo>
                    <a:pt x="859632" y="302514"/>
                    <a:pt x="840106" y="309658"/>
                    <a:pt x="813912" y="309658"/>
                  </a:cubicBezTo>
                  <a:cubicBezTo>
                    <a:pt x="804959" y="309658"/>
                    <a:pt x="796100" y="308896"/>
                    <a:pt x="787242" y="307372"/>
                  </a:cubicBezTo>
                  <a:cubicBezTo>
                    <a:pt x="778384" y="305848"/>
                    <a:pt x="769621" y="303657"/>
                    <a:pt x="760858" y="300799"/>
                  </a:cubicBezTo>
                  <a:lnTo>
                    <a:pt x="762763" y="273082"/>
                  </a:lnTo>
                  <a:cubicBezTo>
                    <a:pt x="769621" y="276797"/>
                    <a:pt x="777050" y="279654"/>
                    <a:pt x="785051" y="281749"/>
                  </a:cubicBezTo>
                  <a:cubicBezTo>
                    <a:pt x="793052" y="283845"/>
                    <a:pt x="801149" y="284893"/>
                    <a:pt x="809245" y="284893"/>
                  </a:cubicBezTo>
                  <a:cubicBezTo>
                    <a:pt x="818198" y="284893"/>
                    <a:pt x="825913" y="283464"/>
                    <a:pt x="832295" y="280607"/>
                  </a:cubicBezTo>
                  <a:cubicBezTo>
                    <a:pt x="838772" y="277749"/>
                    <a:pt x="844011" y="273844"/>
                    <a:pt x="848202" y="268700"/>
                  </a:cubicBezTo>
                  <a:cubicBezTo>
                    <a:pt x="852393" y="263557"/>
                    <a:pt x="855346" y="257461"/>
                    <a:pt x="857251" y="250222"/>
                  </a:cubicBezTo>
                  <a:cubicBezTo>
                    <a:pt x="859156" y="243078"/>
                    <a:pt x="860013" y="235077"/>
                    <a:pt x="860013" y="226409"/>
                  </a:cubicBezTo>
                  <a:lnTo>
                    <a:pt x="860013" y="207169"/>
                  </a:lnTo>
                  <a:cubicBezTo>
                    <a:pt x="855060" y="216313"/>
                    <a:pt x="848202" y="223361"/>
                    <a:pt x="839534" y="228219"/>
                  </a:cubicBezTo>
                  <a:cubicBezTo>
                    <a:pt x="830866" y="233077"/>
                    <a:pt x="821627" y="235553"/>
                    <a:pt x="811626" y="235553"/>
                  </a:cubicBezTo>
                  <a:cubicBezTo>
                    <a:pt x="800196" y="235553"/>
                    <a:pt x="790480" y="233172"/>
                    <a:pt x="782480" y="228409"/>
                  </a:cubicBezTo>
                  <a:cubicBezTo>
                    <a:pt x="774478" y="223647"/>
                    <a:pt x="767906" y="217361"/>
                    <a:pt x="762858" y="209645"/>
                  </a:cubicBezTo>
                  <a:cubicBezTo>
                    <a:pt x="757810" y="201930"/>
                    <a:pt x="754095" y="193167"/>
                    <a:pt x="751809" y="183356"/>
                  </a:cubicBezTo>
                  <a:cubicBezTo>
                    <a:pt x="749523" y="173546"/>
                    <a:pt x="748380" y="163544"/>
                    <a:pt x="748380" y="153257"/>
                  </a:cubicBezTo>
                  <a:cubicBezTo>
                    <a:pt x="748380" y="142399"/>
                    <a:pt x="749523" y="131826"/>
                    <a:pt x="751809" y="121730"/>
                  </a:cubicBezTo>
                  <a:cubicBezTo>
                    <a:pt x="754095" y="111633"/>
                    <a:pt x="757810" y="102584"/>
                    <a:pt x="763049" y="94774"/>
                  </a:cubicBezTo>
                  <a:cubicBezTo>
                    <a:pt x="768287" y="86963"/>
                    <a:pt x="774859" y="80677"/>
                    <a:pt x="782860" y="76009"/>
                  </a:cubicBezTo>
                  <a:cubicBezTo>
                    <a:pt x="790861" y="71342"/>
                    <a:pt x="800672" y="68961"/>
                    <a:pt x="812388" y="68961"/>
                  </a:cubicBezTo>
                  <a:close/>
                  <a:moveTo>
                    <a:pt x="657701" y="68961"/>
                  </a:moveTo>
                  <a:cubicBezTo>
                    <a:pt x="667226" y="68961"/>
                    <a:pt x="675418" y="70485"/>
                    <a:pt x="682180" y="73533"/>
                  </a:cubicBezTo>
                  <a:cubicBezTo>
                    <a:pt x="688943" y="76581"/>
                    <a:pt x="694373" y="80867"/>
                    <a:pt x="698373" y="86392"/>
                  </a:cubicBezTo>
                  <a:cubicBezTo>
                    <a:pt x="702374" y="91916"/>
                    <a:pt x="705422" y="98679"/>
                    <a:pt x="707231" y="106490"/>
                  </a:cubicBezTo>
                  <a:cubicBezTo>
                    <a:pt x="709136" y="114300"/>
                    <a:pt x="709994" y="122968"/>
                    <a:pt x="709994" y="132302"/>
                  </a:cubicBezTo>
                  <a:lnTo>
                    <a:pt x="709994" y="235553"/>
                  </a:lnTo>
                  <a:lnTo>
                    <a:pt x="678466" y="235553"/>
                  </a:lnTo>
                  <a:lnTo>
                    <a:pt x="678466" y="139160"/>
                  </a:lnTo>
                  <a:cubicBezTo>
                    <a:pt x="678466" y="133540"/>
                    <a:pt x="678085" y="127921"/>
                    <a:pt x="677323" y="122491"/>
                  </a:cubicBezTo>
                  <a:cubicBezTo>
                    <a:pt x="676561" y="117062"/>
                    <a:pt x="675132" y="112300"/>
                    <a:pt x="672941" y="108109"/>
                  </a:cubicBezTo>
                  <a:cubicBezTo>
                    <a:pt x="670751" y="104013"/>
                    <a:pt x="667607" y="100679"/>
                    <a:pt x="663607" y="98107"/>
                  </a:cubicBezTo>
                  <a:cubicBezTo>
                    <a:pt x="659606" y="95536"/>
                    <a:pt x="654177" y="94393"/>
                    <a:pt x="647509" y="94393"/>
                  </a:cubicBezTo>
                  <a:cubicBezTo>
                    <a:pt x="640271" y="94393"/>
                    <a:pt x="634175" y="95917"/>
                    <a:pt x="629222" y="98965"/>
                  </a:cubicBezTo>
                  <a:cubicBezTo>
                    <a:pt x="624364" y="102013"/>
                    <a:pt x="620459" y="106013"/>
                    <a:pt x="617506" y="110871"/>
                  </a:cubicBezTo>
                  <a:cubicBezTo>
                    <a:pt x="614553" y="115729"/>
                    <a:pt x="612553" y="121349"/>
                    <a:pt x="611219" y="127540"/>
                  </a:cubicBezTo>
                  <a:cubicBezTo>
                    <a:pt x="609981" y="133731"/>
                    <a:pt x="609314" y="140113"/>
                    <a:pt x="609314" y="146685"/>
                  </a:cubicBezTo>
                  <a:lnTo>
                    <a:pt x="609314" y="235553"/>
                  </a:lnTo>
                  <a:lnTo>
                    <a:pt x="578358" y="235553"/>
                  </a:lnTo>
                  <a:lnTo>
                    <a:pt x="578358" y="109728"/>
                  </a:lnTo>
                  <a:cubicBezTo>
                    <a:pt x="578358" y="103441"/>
                    <a:pt x="578263" y="97155"/>
                    <a:pt x="578072" y="90964"/>
                  </a:cubicBezTo>
                  <a:cubicBezTo>
                    <a:pt x="577882" y="84773"/>
                    <a:pt x="577405" y="78486"/>
                    <a:pt x="576834" y="72199"/>
                  </a:cubicBezTo>
                  <a:lnTo>
                    <a:pt x="606171" y="72199"/>
                  </a:lnTo>
                  <a:lnTo>
                    <a:pt x="607124" y="100298"/>
                  </a:lnTo>
                  <a:cubicBezTo>
                    <a:pt x="617982" y="79343"/>
                    <a:pt x="634841" y="68961"/>
                    <a:pt x="657701" y="68961"/>
                  </a:cubicBezTo>
                  <a:close/>
                  <a:moveTo>
                    <a:pt x="1282637" y="68866"/>
                  </a:moveTo>
                  <a:cubicBezTo>
                    <a:pt x="1294924" y="68866"/>
                    <a:pt x="1305211" y="70962"/>
                    <a:pt x="1313498" y="75248"/>
                  </a:cubicBezTo>
                  <a:cubicBezTo>
                    <a:pt x="1321784" y="79534"/>
                    <a:pt x="1328547" y="85344"/>
                    <a:pt x="1333595" y="92679"/>
                  </a:cubicBezTo>
                  <a:cubicBezTo>
                    <a:pt x="1338644" y="100108"/>
                    <a:pt x="1342358" y="108776"/>
                    <a:pt x="1344549" y="118777"/>
                  </a:cubicBezTo>
                  <a:cubicBezTo>
                    <a:pt x="1346740" y="128778"/>
                    <a:pt x="1347787" y="139542"/>
                    <a:pt x="1347787" y="151162"/>
                  </a:cubicBezTo>
                  <a:lnTo>
                    <a:pt x="1347787" y="160973"/>
                  </a:lnTo>
                  <a:lnTo>
                    <a:pt x="1243203" y="160973"/>
                  </a:lnTo>
                  <a:lnTo>
                    <a:pt x="1243203" y="161068"/>
                  </a:lnTo>
                  <a:cubicBezTo>
                    <a:pt x="1243203" y="168688"/>
                    <a:pt x="1244251" y="175832"/>
                    <a:pt x="1246441" y="182499"/>
                  </a:cubicBezTo>
                  <a:cubicBezTo>
                    <a:pt x="1248632" y="189167"/>
                    <a:pt x="1251871" y="194977"/>
                    <a:pt x="1256252" y="200025"/>
                  </a:cubicBezTo>
                  <a:cubicBezTo>
                    <a:pt x="1260634" y="205074"/>
                    <a:pt x="1266063" y="208979"/>
                    <a:pt x="1272635" y="211932"/>
                  </a:cubicBezTo>
                  <a:cubicBezTo>
                    <a:pt x="1279207" y="214884"/>
                    <a:pt x="1286732" y="216313"/>
                    <a:pt x="1295305" y="216313"/>
                  </a:cubicBezTo>
                  <a:cubicBezTo>
                    <a:pt x="1302353" y="216313"/>
                    <a:pt x="1309592" y="215456"/>
                    <a:pt x="1317022" y="213837"/>
                  </a:cubicBezTo>
                  <a:cubicBezTo>
                    <a:pt x="1324451" y="212217"/>
                    <a:pt x="1331214" y="209645"/>
                    <a:pt x="1337501" y="206121"/>
                  </a:cubicBezTo>
                  <a:lnTo>
                    <a:pt x="1339406" y="230315"/>
                  </a:lnTo>
                  <a:cubicBezTo>
                    <a:pt x="1332166" y="233363"/>
                    <a:pt x="1324451" y="235554"/>
                    <a:pt x="1316355" y="236982"/>
                  </a:cubicBezTo>
                  <a:cubicBezTo>
                    <a:pt x="1308259" y="238411"/>
                    <a:pt x="1299782" y="239078"/>
                    <a:pt x="1291114" y="239078"/>
                  </a:cubicBezTo>
                  <a:cubicBezTo>
                    <a:pt x="1277969" y="239078"/>
                    <a:pt x="1266444" y="236982"/>
                    <a:pt x="1256443" y="232887"/>
                  </a:cubicBezTo>
                  <a:cubicBezTo>
                    <a:pt x="1246441" y="228791"/>
                    <a:pt x="1238060" y="222885"/>
                    <a:pt x="1231297" y="215266"/>
                  </a:cubicBezTo>
                  <a:cubicBezTo>
                    <a:pt x="1224534" y="207645"/>
                    <a:pt x="1219486" y="198597"/>
                    <a:pt x="1216152" y="188119"/>
                  </a:cubicBezTo>
                  <a:cubicBezTo>
                    <a:pt x="1212818" y="177642"/>
                    <a:pt x="1211199" y="166021"/>
                    <a:pt x="1211199" y="153162"/>
                  </a:cubicBezTo>
                  <a:cubicBezTo>
                    <a:pt x="1211199" y="142018"/>
                    <a:pt x="1212818" y="131350"/>
                    <a:pt x="1216057" y="121158"/>
                  </a:cubicBezTo>
                  <a:cubicBezTo>
                    <a:pt x="1219295" y="110967"/>
                    <a:pt x="1223962" y="101918"/>
                    <a:pt x="1230058" y="94203"/>
                  </a:cubicBezTo>
                  <a:cubicBezTo>
                    <a:pt x="1236154" y="86487"/>
                    <a:pt x="1243679" y="80296"/>
                    <a:pt x="1252537" y="75724"/>
                  </a:cubicBezTo>
                  <a:cubicBezTo>
                    <a:pt x="1261396" y="71152"/>
                    <a:pt x="1271397" y="68866"/>
                    <a:pt x="1282637" y="68866"/>
                  </a:cubicBezTo>
                  <a:close/>
                  <a:moveTo>
                    <a:pt x="396336" y="68866"/>
                  </a:moveTo>
                  <a:cubicBezTo>
                    <a:pt x="408623" y="68866"/>
                    <a:pt x="418910" y="70962"/>
                    <a:pt x="427196" y="75248"/>
                  </a:cubicBezTo>
                  <a:cubicBezTo>
                    <a:pt x="435483" y="79534"/>
                    <a:pt x="442246" y="85344"/>
                    <a:pt x="447294" y="92679"/>
                  </a:cubicBezTo>
                  <a:cubicBezTo>
                    <a:pt x="452342" y="100108"/>
                    <a:pt x="456057" y="108776"/>
                    <a:pt x="458248" y="118777"/>
                  </a:cubicBezTo>
                  <a:cubicBezTo>
                    <a:pt x="460439" y="128778"/>
                    <a:pt x="461486" y="139542"/>
                    <a:pt x="461486" y="151162"/>
                  </a:cubicBezTo>
                  <a:lnTo>
                    <a:pt x="461486" y="160973"/>
                  </a:lnTo>
                  <a:lnTo>
                    <a:pt x="356902" y="160973"/>
                  </a:lnTo>
                  <a:lnTo>
                    <a:pt x="356902" y="161068"/>
                  </a:lnTo>
                  <a:cubicBezTo>
                    <a:pt x="356902" y="168688"/>
                    <a:pt x="357950" y="175832"/>
                    <a:pt x="360140" y="182499"/>
                  </a:cubicBezTo>
                  <a:cubicBezTo>
                    <a:pt x="362331" y="189167"/>
                    <a:pt x="365570" y="194977"/>
                    <a:pt x="369951" y="200025"/>
                  </a:cubicBezTo>
                  <a:cubicBezTo>
                    <a:pt x="374333" y="205074"/>
                    <a:pt x="379762" y="208979"/>
                    <a:pt x="386334" y="211932"/>
                  </a:cubicBezTo>
                  <a:cubicBezTo>
                    <a:pt x="392906" y="214884"/>
                    <a:pt x="400431" y="216313"/>
                    <a:pt x="409004" y="216313"/>
                  </a:cubicBezTo>
                  <a:cubicBezTo>
                    <a:pt x="416052" y="216313"/>
                    <a:pt x="423291" y="215456"/>
                    <a:pt x="430721" y="213837"/>
                  </a:cubicBezTo>
                  <a:cubicBezTo>
                    <a:pt x="438150" y="212217"/>
                    <a:pt x="444913" y="209645"/>
                    <a:pt x="451199" y="206121"/>
                  </a:cubicBezTo>
                  <a:lnTo>
                    <a:pt x="453104" y="230315"/>
                  </a:lnTo>
                  <a:cubicBezTo>
                    <a:pt x="445865" y="233363"/>
                    <a:pt x="438150" y="235554"/>
                    <a:pt x="430054" y="236982"/>
                  </a:cubicBezTo>
                  <a:cubicBezTo>
                    <a:pt x="421958" y="238411"/>
                    <a:pt x="413480" y="239078"/>
                    <a:pt x="404813" y="239078"/>
                  </a:cubicBezTo>
                  <a:cubicBezTo>
                    <a:pt x="391668" y="239078"/>
                    <a:pt x="380143" y="236982"/>
                    <a:pt x="370142" y="232887"/>
                  </a:cubicBezTo>
                  <a:cubicBezTo>
                    <a:pt x="360140" y="228791"/>
                    <a:pt x="351758" y="222885"/>
                    <a:pt x="344996" y="215266"/>
                  </a:cubicBezTo>
                  <a:cubicBezTo>
                    <a:pt x="338233" y="207645"/>
                    <a:pt x="333185" y="198597"/>
                    <a:pt x="329851" y="188119"/>
                  </a:cubicBezTo>
                  <a:cubicBezTo>
                    <a:pt x="326517" y="177642"/>
                    <a:pt x="324898" y="166021"/>
                    <a:pt x="324898" y="153162"/>
                  </a:cubicBezTo>
                  <a:cubicBezTo>
                    <a:pt x="324898" y="142018"/>
                    <a:pt x="326517" y="131350"/>
                    <a:pt x="329756" y="121158"/>
                  </a:cubicBezTo>
                  <a:cubicBezTo>
                    <a:pt x="332994" y="110967"/>
                    <a:pt x="337661" y="101918"/>
                    <a:pt x="343757" y="94203"/>
                  </a:cubicBezTo>
                  <a:cubicBezTo>
                    <a:pt x="349853" y="86487"/>
                    <a:pt x="357378" y="80296"/>
                    <a:pt x="366236" y="75724"/>
                  </a:cubicBezTo>
                  <a:cubicBezTo>
                    <a:pt x="375095" y="71152"/>
                    <a:pt x="385096" y="68866"/>
                    <a:pt x="396336" y="68866"/>
                  </a:cubicBezTo>
                  <a:close/>
                  <a:moveTo>
                    <a:pt x="230220" y="68866"/>
                  </a:moveTo>
                  <a:cubicBezTo>
                    <a:pt x="242507" y="68866"/>
                    <a:pt x="252794" y="70962"/>
                    <a:pt x="261081" y="75248"/>
                  </a:cubicBezTo>
                  <a:cubicBezTo>
                    <a:pt x="269367" y="79534"/>
                    <a:pt x="276130" y="85344"/>
                    <a:pt x="281178" y="92679"/>
                  </a:cubicBezTo>
                  <a:cubicBezTo>
                    <a:pt x="286226" y="100013"/>
                    <a:pt x="289941" y="108776"/>
                    <a:pt x="292132" y="118777"/>
                  </a:cubicBezTo>
                  <a:cubicBezTo>
                    <a:pt x="294323" y="128778"/>
                    <a:pt x="295371" y="139542"/>
                    <a:pt x="295371" y="151162"/>
                  </a:cubicBezTo>
                  <a:lnTo>
                    <a:pt x="295371" y="160973"/>
                  </a:lnTo>
                  <a:lnTo>
                    <a:pt x="190786" y="160973"/>
                  </a:lnTo>
                  <a:lnTo>
                    <a:pt x="190786" y="161068"/>
                  </a:lnTo>
                  <a:cubicBezTo>
                    <a:pt x="190786" y="168688"/>
                    <a:pt x="191929" y="175832"/>
                    <a:pt x="194025" y="182499"/>
                  </a:cubicBezTo>
                  <a:cubicBezTo>
                    <a:pt x="196215" y="189167"/>
                    <a:pt x="199454" y="194977"/>
                    <a:pt x="203835" y="200025"/>
                  </a:cubicBezTo>
                  <a:cubicBezTo>
                    <a:pt x="208217" y="205074"/>
                    <a:pt x="213646" y="208979"/>
                    <a:pt x="220218" y="211932"/>
                  </a:cubicBezTo>
                  <a:cubicBezTo>
                    <a:pt x="226790" y="214884"/>
                    <a:pt x="234315" y="216313"/>
                    <a:pt x="242888" y="216313"/>
                  </a:cubicBezTo>
                  <a:cubicBezTo>
                    <a:pt x="249936" y="216313"/>
                    <a:pt x="257175" y="215456"/>
                    <a:pt x="264605" y="213837"/>
                  </a:cubicBezTo>
                  <a:cubicBezTo>
                    <a:pt x="272034" y="212217"/>
                    <a:pt x="278797" y="209645"/>
                    <a:pt x="285084" y="206121"/>
                  </a:cubicBezTo>
                  <a:lnTo>
                    <a:pt x="286988" y="230315"/>
                  </a:lnTo>
                  <a:cubicBezTo>
                    <a:pt x="279749" y="233363"/>
                    <a:pt x="272034" y="235554"/>
                    <a:pt x="263938" y="236982"/>
                  </a:cubicBezTo>
                  <a:cubicBezTo>
                    <a:pt x="255842" y="238411"/>
                    <a:pt x="247364" y="239078"/>
                    <a:pt x="238697" y="239078"/>
                  </a:cubicBezTo>
                  <a:cubicBezTo>
                    <a:pt x="225552" y="239078"/>
                    <a:pt x="214027" y="236982"/>
                    <a:pt x="204026" y="232887"/>
                  </a:cubicBezTo>
                  <a:cubicBezTo>
                    <a:pt x="194025" y="228791"/>
                    <a:pt x="185642" y="222885"/>
                    <a:pt x="178880" y="215266"/>
                  </a:cubicBezTo>
                  <a:cubicBezTo>
                    <a:pt x="172117" y="207645"/>
                    <a:pt x="167069" y="198597"/>
                    <a:pt x="163735" y="188119"/>
                  </a:cubicBezTo>
                  <a:cubicBezTo>
                    <a:pt x="160401" y="177642"/>
                    <a:pt x="158782" y="166021"/>
                    <a:pt x="158782" y="153162"/>
                  </a:cubicBezTo>
                  <a:cubicBezTo>
                    <a:pt x="158782" y="142018"/>
                    <a:pt x="160401" y="131350"/>
                    <a:pt x="163640" y="121158"/>
                  </a:cubicBezTo>
                  <a:cubicBezTo>
                    <a:pt x="166878" y="110967"/>
                    <a:pt x="171546" y="101918"/>
                    <a:pt x="177641" y="94203"/>
                  </a:cubicBezTo>
                  <a:cubicBezTo>
                    <a:pt x="183737" y="86487"/>
                    <a:pt x="191262" y="80296"/>
                    <a:pt x="200121" y="75724"/>
                  </a:cubicBezTo>
                  <a:cubicBezTo>
                    <a:pt x="208979" y="71152"/>
                    <a:pt x="218980" y="68866"/>
                    <a:pt x="230220" y="68866"/>
                  </a:cubicBezTo>
                  <a:close/>
                  <a:moveTo>
                    <a:pt x="70866" y="14288"/>
                  </a:moveTo>
                  <a:cubicBezTo>
                    <a:pt x="87916" y="14288"/>
                    <a:pt x="103632" y="16574"/>
                    <a:pt x="118015" y="21146"/>
                  </a:cubicBezTo>
                  <a:lnTo>
                    <a:pt x="116110" y="49911"/>
                  </a:lnTo>
                  <a:cubicBezTo>
                    <a:pt x="109442" y="46863"/>
                    <a:pt x="102298" y="44673"/>
                    <a:pt x="94774" y="43244"/>
                  </a:cubicBezTo>
                  <a:cubicBezTo>
                    <a:pt x="87154" y="41815"/>
                    <a:pt x="79819" y="41149"/>
                    <a:pt x="72771" y="41149"/>
                  </a:cubicBezTo>
                  <a:cubicBezTo>
                    <a:pt x="68390" y="41149"/>
                    <a:pt x="64008" y="41720"/>
                    <a:pt x="59531" y="42768"/>
                  </a:cubicBezTo>
                  <a:cubicBezTo>
                    <a:pt x="55054" y="43911"/>
                    <a:pt x="51054" y="45625"/>
                    <a:pt x="47530" y="48197"/>
                  </a:cubicBezTo>
                  <a:cubicBezTo>
                    <a:pt x="44005" y="50674"/>
                    <a:pt x="41053" y="54007"/>
                    <a:pt x="38767" y="58008"/>
                  </a:cubicBezTo>
                  <a:cubicBezTo>
                    <a:pt x="36481" y="62008"/>
                    <a:pt x="35338" y="67152"/>
                    <a:pt x="35338" y="73152"/>
                  </a:cubicBezTo>
                  <a:cubicBezTo>
                    <a:pt x="35338" y="77725"/>
                    <a:pt x="36100" y="81630"/>
                    <a:pt x="37719" y="84868"/>
                  </a:cubicBezTo>
                  <a:cubicBezTo>
                    <a:pt x="39243" y="88107"/>
                    <a:pt x="41434" y="91059"/>
                    <a:pt x="44101" y="93726"/>
                  </a:cubicBezTo>
                  <a:cubicBezTo>
                    <a:pt x="46768" y="96393"/>
                    <a:pt x="49911" y="98679"/>
                    <a:pt x="53435" y="100775"/>
                  </a:cubicBezTo>
                  <a:cubicBezTo>
                    <a:pt x="56959" y="102870"/>
                    <a:pt x="60579" y="104871"/>
                    <a:pt x="64389" y="106776"/>
                  </a:cubicBezTo>
                  <a:lnTo>
                    <a:pt x="81534" y="114967"/>
                  </a:lnTo>
                  <a:cubicBezTo>
                    <a:pt x="87820" y="118015"/>
                    <a:pt x="93536" y="121254"/>
                    <a:pt x="98869" y="124587"/>
                  </a:cubicBezTo>
                  <a:cubicBezTo>
                    <a:pt x="104203" y="127921"/>
                    <a:pt x="108775" y="131922"/>
                    <a:pt x="112776" y="136494"/>
                  </a:cubicBezTo>
                  <a:cubicBezTo>
                    <a:pt x="116776" y="141066"/>
                    <a:pt x="119824" y="146400"/>
                    <a:pt x="122111" y="152496"/>
                  </a:cubicBezTo>
                  <a:cubicBezTo>
                    <a:pt x="124396" y="158592"/>
                    <a:pt x="125540" y="165926"/>
                    <a:pt x="125540" y="174403"/>
                  </a:cubicBezTo>
                  <a:cubicBezTo>
                    <a:pt x="125540" y="185547"/>
                    <a:pt x="123634" y="195168"/>
                    <a:pt x="119920" y="203359"/>
                  </a:cubicBezTo>
                  <a:cubicBezTo>
                    <a:pt x="116205" y="211551"/>
                    <a:pt x="111062" y="218218"/>
                    <a:pt x="104489" y="223457"/>
                  </a:cubicBezTo>
                  <a:cubicBezTo>
                    <a:pt x="97917" y="228696"/>
                    <a:pt x="90297" y="232601"/>
                    <a:pt x="81534" y="235268"/>
                  </a:cubicBezTo>
                  <a:cubicBezTo>
                    <a:pt x="72771" y="237840"/>
                    <a:pt x="63437" y="239173"/>
                    <a:pt x="53435" y="239173"/>
                  </a:cubicBezTo>
                  <a:cubicBezTo>
                    <a:pt x="45339" y="239173"/>
                    <a:pt x="36671" y="238507"/>
                    <a:pt x="27337" y="237078"/>
                  </a:cubicBezTo>
                  <a:cubicBezTo>
                    <a:pt x="18097" y="235649"/>
                    <a:pt x="8953" y="233458"/>
                    <a:pt x="0" y="230410"/>
                  </a:cubicBezTo>
                  <a:lnTo>
                    <a:pt x="1524" y="199930"/>
                  </a:lnTo>
                  <a:cubicBezTo>
                    <a:pt x="9620" y="204312"/>
                    <a:pt x="17716" y="207455"/>
                    <a:pt x="25717" y="209360"/>
                  </a:cubicBezTo>
                  <a:cubicBezTo>
                    <a:pt x="33718" y="211360"/>
                    <a:pt x="42386" y="212313"/>
                    <a:pt x="51816" y="212313"/>
                  </a:cubicBezTo>
                  <a:cubicBezTo>
                    <a:pt x="56769" y="212313"/>
                    <a:pt x="61722" y="211646"/>
                    <a:pt x="66484" y="210312"/>
                  </a:cubicBezTo>
                  <a:cubicBezTo>
                    <a:pt x="71247" y="208979"/>
                    <a:pt x="75533" y="206979"/>
                    <a:pt x="79248" y="204121"/>
                  </a:cubicBezTo>
                  <a:cubicBezTo>
                    <a:pt x="82963" y="201264"/>
                    <a:pt x="86011" y="197549"/>
                    <a:pt x="88297" y="192977"/>
                  </a:cubicBezTo>
                  <a:cubicBezTo>
                    <a:pt x="90583" y="188405"/>
                    <a:pt x="91726" y="182880"/>
                    <a:pt x="91726" y="176308"/>
                  </a:cubicBezTo>
                  <a:cubicBezTo>
                    <a:pt x="91726" y="171069"/>
                    <a:pt x="90773" y="166593"/>
                    <a:pt x="88773" y="162783"/>
                  </a:cubicBezTo>
                  <a:cubicBezTo>
                    <a:pt x="86773" y="158973"/>
                    <a:pt x="84201" y="155544"/>
                    <a:pt x="80963" y="152496"/>
                  </a:cubicBezTo>
                  <a:cubicBezTo>
                    <a:pt x="77724" y="149448"/>
                    <a:pt x="73914" y="146685"/>
                    <a:pt x="69532" y="144304"/>
                  </a:cubicBezTo>
                  <a:cubicBezTo>
                    <a:pt x="65151" y="141923"/>
                    <a:pt x="60579" y="139542"/>
                    <a:pt x="55816" y="137160"/>
                  </a:cubicBezTo>
                  <a:lnTo>
                    <a:pt x="39624" y="128969"/>
                  </a:lnTo>
                  <a:cubicBezTo>
                    <a:pt x="34671" y="126397"/>
                    <a:pt x="29813" y="123444"/>
                    <a:pt x="25241" y="120301"/>
                  </a:cubicBezTo>
                  <a:cubicBezTo>
                    <a:pt x="20669" y="117158"/>
                    <a:pt x="16669" y="113443"/>
                    <a:pt x="13335" y="109157"/>
                  </a:cubicBezTo>
                  <a:cubicBezTo>
                    <a:pt x="10001" y="104871"/>
                    <a:pt x="7334" y="100013"/>
                    <a:pt x="5429" y="94488"/>
                  </a:cubicBezTo>
                  <a:cubicBezTo>
                    <a:pt x="3429" y="88964"/>
                    <a:pt x="2476" y="82487"/>
                    <a:pt x="2476" y="75058"/>
                  </a:cubicBezTo>
                  <a:cubicBezTo>
                    <a:pt x="2476" y="64389"/>
                    <a:pt x="4477" y="55150"/>
                    <a:pt x="8572" y="47435"/>
                  </a:cubicBezTo>
                  <a:cubicBezTo>
                    <a:pt x="12668" y="39720"/>
                    <a:pt x="17907" y="33338"/>
                    <a:pt x="24479" y="28480"/>
                  </a:cubicBezTo>
                  <a:cubicBezTo>
                    <a:pt x="31051" y="23622"/>
                    <a:pt x="38386" y="20003"/>
                    <a:pt x="46482" y="17717"/>
                  </a:cubicBezTo>
                  <a:cubicBezTo>
                    <a:pt x="54578" y="15431"/>
                    <a:pt x="62674" y="14288"/>
                    <a:pt x="70866" y="14288"/>
                  </a:cubicBezTo>
                  <a:close/>
                  <a:moveTo>
                    <a:pt x="499872" y="6858"/>
                  </a:moveTo>
                  <a:lnTo>
                    <a:pt x="531114" y="6858"/>
                  </a:lnTo>
                  <a:lnTo>
                    <a:pt x="531114" y="38576"/>
                  </a:lnTo>
                  <a:lnTo>
                    <a:pt x="499872" y="38576"/>
                  </a:lnTo>
                  <a:close/>
                  <a:moveTo>
                    <a:pt x="1996155" y="0"/>
                  </a:moveTo>
                  <a:lnTo>
                    <a:pt x="2027397" y="0"/>
                  </a:lnTo>
                  <a:lnTo>
                    <a:pt x="2027397" y="186595"/>
                  </a:lnTo>
                  <a:cubicBezTo>
                    <a:pt x="2027397" y="195739"/>
                    <a:pt x="2027587" y="204311"/>
                    <a:pt x="2027873" y="212217"/>
                  </a:cubicBezTo>
                  <a:cubicBezTo>
                    <a:pt x="2028159" y="220123"/>
                    <a:pt x="2028540" y="227933"/>
                    <a:pt x="2028921" y="235553"/>
                  </a:cubicBezTo>
                  <a:lnTo>
                    <a:pt x="1999964" y="235553"/>
                  </a:lnTo>
                  <a:lnTo>
                    <a:pt x="1998060" y="208407"/>
                  </a:lnTo>
                  <a:cubicBezTo>
                    <a:pt x="1993297" y="218884"/>
                    <a:pt x="1986630" y="226600"/>
                    <a:pt x="1978057" y="231648"/>
                  </a:cubicBezTo>
                  <a:cubicBezTo>
                    <a:pt x="1969485" y="236696"/>
                    <a:pt x="1959864" y="239173"/>
                    <a:pt x="1949006" y="239173"/>
                  </a:cubicBezTo>
                  <a:cubicBezTo>
                    <a:pt x="1937100" y="239173"/>
                    <a:pt x="1927194" y="236696"/>
                    <a:pt x="1919002" y="231838"/>
                  </a:cubicBezTo>
                  <a:cubicBezTo>
                    <a:pt x="1910906" y="226981"/>
                    <a:pt x="1904238" y="220504"/>
                    <a:pt x="1899000" y="212407"/>
                  </a:cubicBezTo>
                  <a:cubicBezTo>
                    <a:pt x="1893761" y="204311"/>
                    <a:pt x="1890046" y="195167"/>
                    <a:pt x="1887760" y="184975"/>
                  </a:cubicBezTo>
                  <a:cubicBezTo>
                    <a:pt x="1885474" y="174784"/>
                    <a:pt x="1884331" y="164211"/>
                    <a:pt x="1884331" y="153257"/>
                  </a:cubicBezTo>
                  <a:cubicBezTo>
                    <a:pt x="1884331" y="142304"/>
                    <a:pt x="1885474" y="131826"/>
                    <a:pt x="1887760" y="121729"/>
                  </a:cubicBezTo>
                  <a:cubicBezTo>
                    <a:pt x="1890046" y="111633"/>
                    <a:pt x="1893761" y="102584"/>
                    <a:pt x="1899000" y="94774"/>
                  </a:cubicBezTo>
                  <a:cubicBezTo>
                    <a:pt x="1904238" y="86963"/>
                    <a:pt x="1910906" y="80677"/>
                    <a:pt x="1919002" y="76009"/>
                  </a:cubicBezTo>
                  <a:cubicBezTo>
                    <a:pt x="1927098" y="71342"/>
                    <a:pt x="1937100" y="68961"/>
                    <a:pt x="1949006" y="68961"/>
                  </a:cubicBezTo>
                  <a:cubicBezTo>
                    <a:pt x="1959007" y="68961"/>
                    <a:pt x="1968342" y="71533"/>
                    <a:pt x="1977105" y="76771"/>
                  </a:cubicBezTo>
                  <a:cubicBezTo>
                    <a:pt x="1985868" y="82010"/>
                    <a:pt x="1992154" y="89535"/>
                    <a:pt x="1996155" y="99346"/>
                  </a:cubicBezTo>
                  <a:close/>
                  <a:moveTo>
                    <a:pt x="1037368" y="0"/>
                  </a:moveTo>
                  <a:lnTo>
                    <a:pt x="1068610" y="0"/>
                  </a:lnTo>
                  <a:lnTo>
                    <a:pt x="1068610" y="99346"/>
                  </a:lnTo>
                  <a:cubicBezTo>
                    <a:pt x="1072515" y="89535"/>
                    <a:pt x="1078992" y="82010"/>
                    <a:pt x="1087946" y="76771"/>
                  </a:cubicBezTo>
                  <a:cubicBezTo>
                    <a:pt x="1096899" y="71533"/>
                    <a:pt x="1106329" y="68961"/>
                    <a:pt x="1116330" y="68961"/>
                  </a:cubicBezTo>
                  <a:cubicBezTo>
                    <a:pt x="1128237" y="68961"/>
                    <a:pt x="1138143" y="71342"/>
                    <a:pt x="1146334" y="76009"/>
                  </a:cubicBezTo>
                  <a:cubicBezTo>
                    <a:pt x="1154430" y="80677"/>
                    <a:pt x="1161002" y="86963"/>
                    <a:pt x="1166146" y="94774"/>
                  </a:cubicBezTo>
                  <a:cubicBezTo>
                    <a:pt x="1171289" y="102584"/>
                    <a:pt x="1174909" y="111633"/>
                    <a:pt x="1177100" y="121729"/>
                  </a:cubicBezTo>
                  <a:cubicBezTo>
                    <a:pt x="1179291" y="131826"/>
                    <a:pt x="1180338" y="142399"/>
                    <a:pt x="1180338" y="153257"/>
                  </a:cubicBezTo>
                  <a:cubicBezTo>
                    <a:pt x="1180338" y="164116"/>
                    <a:pt x="1179195" y="174688"/>
                    <a:pt x="1176909" y="184975"/>
                  </a:cubicBezTo>
                  <a:cubicBezTo>
                    <a:pt x="1174623" y="195263"/>
                    <a:pt x="1170909" y="204406"/>
                    <a:pt x="1165670" y="212407"/>
                  </a:cubicBezTo>
                  <a:cubicBezTo>
                    <a:pt x="1160431" y="220504"/>
                    <a:pt x="1153764" y="226981"/>
                    <a:pt x="1145667" y="231838"/>
                  </a:cubicBezTo>
                  <a:cubicBezTo>
                    <a:pt x="1137571" y="236696"/>
                    <a:pt x="1127570" y="239173"/>
                    <a:pt x="1115664" y="239173"/>
                  </a:cubicBezTo>
                  <a:cubicBezTo>
                    <a:pt x="1104805" y="239173"/>
                    <a:pt x="1095185" y="236696"/>
                    <a:pt x="1086803" y="231648"/>
                  </a:cubicBezTo>
                  <a:cubicBezTo>
                    <a:pt x="1078421" y="226600"/>
                    <a:pt x="1071658" y="218884"/>
                    <a:pt x="1066705" y="208407"/>
                  </a:cubicBezTo>
                  <a:lnTo>
                    <a:pt x="1066038" y="235553"/>
                  </a:lnTo>
                  <a:lnTo>
                    <a:pt x="1037368" y="23555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162596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|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92DD91-EAE8-4850-A1F1-29F8A7A57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213089"/>
            <a:ext cx="11157744" cy="738664"/>
          </a:xfrm>
        </p:spPr>
        <p:txBody>
          <a:bodyPr anchor="b" anchorCtr="0"/>
          <a:lstStyle>
            <a:lvl1pPr>
              <a:defRPr sz="4800" b="0"/>
            </a:lvl1pPr>
          </a:lstStyle>
          <a:p>
            <a:r>
              <a:rPr lang="en-US" noProof="0"/>
              <a:t>Edit Master Cover 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810713E-3804-4787-B0E9-28105C274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9725" y="4965080"/>
            <a:ext cx="3228592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Target group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5E062E4E-FEC5-4007-94FA-E26B3F377E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09725" y="5141291"/>
            <a:ext cx="3228592" cy="697105"/>
          </a:xfrm>
        </p:spPr>
        <p:txBody>
          <a:bodyPr wrap="square">
            <a:no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im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B988E013-D7EA-4250-95FD-1943849D4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6107" y="4965080"/>
            <a:ext cx="4319999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uthor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FCFD2F7D-2405-47CC-ADE1-89F4F050B1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96107" y="5141292"/>
            <a:ext cx="4319999" cy="184666"/>
          </a:xfrm>
        </p:spPr>
        <p:txBody>
          <a:bodyPr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partment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F52AEE9E-B08F-4C0A-BEEE-04C7FFB48E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9" y="2872085"/>
            <a:ext cx="11157744" cy="738664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8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cxnSp>
        <p:nvCxnSpPr>
          <p:cNvPr id="55" name="Gerade Verbindung 22">
            <a:extLst>
              <a:ext uri="{FF2B5EF4-FFF2-40B4-BE49-F238E27FC236}">
                <a16:creationId xmlns:a16="http://schemas.microsoft.com/office/drawing/2014/main" id="{0FD81930-1AB6-453C-8CF7-2246B3482FB4}"/>
              </a:ext>
            </a:extLst>
          </p:cNvPr>
          <p:cNvCxnSpPr>
            <a:cxnSpLocks/>
          </p:cNvCxnSpPr>
          <p:nvPr/>
        </p:nvCxnSpPr>
        <p:spPr>
          <a:xfrm>
            <a:off x="5096108" y="4889103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22">
            <a:extLst>
              <a:ext uri="{FF2B5EF4-FFF2-40B4-BE49-F238E27FC236}">
                <a16:creationId xmlns:a16="http://schemas.microsoft.com/office/drawing/2014/main" id="{F4D114BB-7210-400E-8A65-8B658E626712}"/>
              </a:ext>
            </a:extLst>
          </p:cNvPr>
          <p:cNvCxnSpPr>
            <a:cxnSpLocks/>
          </p:cNvCxnSpPr>
          <p:nvPr/>
        </p:nvCxnSpPr>
        <p:spPr>
          <a:xfrm>
            <a:off x="5096107" y="5577761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22">
            <a:extLst>
              <a:ext uri="{FF2B5EF4-FFF2-40B4-BE49-F238E27FC236}">
                <a16:creationId xmlns:a16="http://schemas.microsoft.com/office/drawing/2014/main" id="{71C425F1-6606-4095-917F-0A5EABB8E022}"/>
              </a:ext>
            </a:extLst>
          </p:cNvPr>
          <p:cNvCxnSpPr>
            <a:cxnSpLocks/>
          </p:cNvCxnSpPr>
          <p:nvPr/>
        </p:nvCxnSpPr>
        <p:spPr>
          <a:xfrm>
            <a:off x="5096107" y="6093705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22">
            <a:extLst>
              <a:ext uri="{FF2B5EF4-FFF2-40B4-BE49-F238E27FC236}">
                <a16:creationId xmlns:a16="http://schemas.microsoft.com/office/drawing/2014/main" id="{929C78D0-9AC5-4AD0-BA80-D1DBD8376211}"/>
              </a:ext>
            </a:extLst>
          </p:cNvPr>
          <p:cNvCxnSpPr>
            <a:cxnSpLocks/>
          </p:cNvCxnSpPr>
          <p:nvPr userDrawn="1"/>
        </p:nvCxnSpPr>
        <p:spPr>
          <a:xfrm>
            <a:off x="5096107" y="6093705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22">
            <a:extLst>
              <a:ext uri="{FF2B5EF4-FFF2-40B4-BE49-F238E27FC236}">
                <a16:creationId xmlns:a16="http://schemas.microsoft.com/office/drawing/2014/main" id="{B7AC5EDF-D9FB-40CE-BD44-B44AB9AF273D}"/>
              </a:ext>
            </a:extLst>
          </p:cNvPr>
          <p:cNvCxnSpPr>
            <a:cxnSpLocks/>
          </p:cNvCxnSpPr>
          <p:nvPr userDrawn="1"/>
        </p:nvCxnSpPr>
        <p:spPr>
          <a:xfrm>
            <a:off x="518318" y="4889103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6B3858EA-1E2B-40BB-88B6-70384BC3466D}"/>
              </a:ext>
            </a:extLst>
          </p:cNvPr>
          <p:cNvSpPr txBox="1"/>
          <p:nvPr userDrawn="1"/>
        </p:nvSpPr>
        <p:spPr>
          <a:xfrm>
            <a:off x="518318" y="4965080"/>
            <a:ext cx="9929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Target group: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53F235B6-8F15-44AD-A35D-04C9940BCC70}"/>
              </a:ext>
            </a:extLst>
          </p:cNvPr>
          <p:cNvSpPr txBox="1"/>
          <p:nvPr userDrawn="1"/>
        </p:nvSpPr>
        <p:spPr>
          <a:xfrm>
            <a:off x="518318" y="5141291"/>
            <a:ext cx="899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im:</a:t>
            </a:r>
          </a:p>
        </p:txBody>
      </p:sp>
      <p:sp>
        <p:nvSpPr>
          <p:cNvPr id="56" name="Datumsplatzhalter 1">
            <a:extLst>
              <a:ext uri="{FF2B5EF4-FFF2-40B4-BE49-F238E27FC236}">
                <a16:creationId xmlns:a16="http://schemas.microsoft.com/office/drawing/2014/main" id="{9F0E4168-0E71-4DE7-8FF5-47D395861FD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096107" y="5651841"/>
            <a:ext cx="1133324" cy="184666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defRPr lang="de-DE" sz="1200" b="1" smtClean="0">
                <a:cs typeface="+mn-cs"/>
              </a:defRPr>
            </a:lvl1pPr>
          </a:lstStyle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950DE3CC-7E95-4832-9D72-DE52214C72D1}" type="datetime3">
              <a:rPr lang="en-US" noProof="0" smtClean="0"/>
              <a:t>20 April 2026</a:t>
            </a:fld>
            <a:endParaRPr lang="en-US" noProof="0"/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197CB04D-EB03-45CB-B5ED-4F864F8CEF1A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1825A908-5668-4FCC-A100-BC0D20D54A24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81BA1A91-05F1-42FA-BF4D-BBC54D312B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B6B2AE94-C69B-4568-A27F-BEDD90173A3A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5EFE2106-BED2-47D0-9D8E-C0495EB5D869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018329BD-BC13-47EF-A9B8-BD503AC80A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82E7142B-12B0-4C92-9BB3-8C69CA5CAF18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D98D8851-09B4-4E2B-A2C2-3C70638E0169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77FDBAA1-47D4-40F0-9083-A94E7DD209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54A061C5-07D5-47B1-AD25-766754C34C76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40A82033-663D-427B-B57A-E808283C3B1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7625F99E-EA5B-42C3-9774-3B1BE2E13F2B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390214D7-4A0E-4F8A-A246-02D7ABE3ED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06EDA3BB-7FDF-4EB3-B0C4-2FF49591D02F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C203BE44-20BC-422E-86CC-50B856F47C62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85" name="Gruppieren 84">
              <a:extLst>
                <a:ext uri="{FF2B5EF4-FFF2-40B4-BE49-F238E27FC236}">
                  <a16:creationId xmlns:a16="http://schemas.microsoft.com/office/drawing/2014/main" id="{6FC5383C-36BE-43CA-8AB9-7EAA13CB6DE2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102" name="Textfeld 101">
                <a:extLst>
                  <a:ext uri="{FF2B5EF4-FFF2-40B4-BE49-F238E27FC236}">
                    <a16:creationId xmlns:a16="http://schemas.microsoft.com/office/drawing/2014/main" id="{9A4F1EBC-75E7-43C6-A6B7-4749726088E1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92</a:t>
                </a:r>
              </a:p>
            </p:txBody>
          </p:sp>
          <p:cxnSp>
            <p:nvCxnSpPr>
              <p:cNvPr id="103" name="Gerader Verbinder 102">
                <a:extLst>
                  <a:ext uri="{FF2B5EF4-FFF2-40B4-BE49-F238E27FC236}">
                    <a16:creationId xmlns:a16="http://schemas.microsoft.com/office/drawing/2014/main" id="{4B3D592A-FC61-4B3C-A952-DFDC83DB22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E7444C6B-6250-4D01-8A89-DA16913C0C32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CA2B90C5-F226-4AFD-BFCD-5312226E19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Textfeld 100">
                <a:extLst>
                  <a:ext uri="{FF2B5EF4-FFF2-40B4-BE49-F238E27FC236}">
                    <a16:creationId xmlns:a16="http://schemas.microsoft.com/office/drawing/2014/main" id="{842137F8-F2FA-45E7-85B0-4E1DCD534ADE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.40</a:t>
                </a:r>
              </a:p>
            </p:txBody>
          </p:sp>
        </p:grp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771FDBE6-C21F-4BE0-B850-D27613A73112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AD253D29-75C6-4AD6-A06B-C72F694BE3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Textfeld 98">
                <a:extLst>
                  <a:ext uri="{FF2B5EF4-FFF2-40B4-BE49-F238E27FC236}">
                    <a16:creationId xmlns:a16="http://schemas.microsoft.com/office/drawing/2014/main" id="{8EA52A1E-D0A2-4E2F-AAB2-98D71C586BF1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00</a:t>
                </a:r>
              </a:p>
            </p:txBody>
          </p:sp>
        </p:grpSp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9AB4F67F-64D7-474E-B413-C83E9F21029F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96" name="Gerader Verbinder 95">
                <a:extLst>
                  <a:ext uri="{FF2B5EF4-FFF2-40B4-BE49-F238E27FC236}">
                    <a16:creationId xmlns:a16="http://schemas.microsoft.com/office/drawing/2014/main" id="{B7483F8C-A580-48CB-BE06-89818DD9F5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43955F50-23D0-4D24-BA2A-46F8E788D6A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.60</a:t>
                </a:r>
              </a:p>
            </p:txBody>
          </p:sp>
        </p:grpSp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94385E51-B4C0-45BC-8006-98B8786A4E9B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80F02DC6-849F-4FC9-BD2A-E11A971C89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F691D9FE-321B-4757-8833-4C1486E2ACE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.00</a:t>
                </a:r>
              </a:p>
            </p:txBody>
          </p:sp>
        </p:grpSp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F65E64C0-5B88-4D87-87BA-C8544561D5FA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92" name="Gerader Verbinder 91">
                <a:extLst>
                  <a:ext uri="{FF2B5EF4-FFF2-40B4-BE49-F238E27FC236}">
                    <a16:creationId xmlns:a16="http://schemas.microsoft.com/office/drawing/2014/main" id="{4E2B5B48-42C6-4A19-9830-0D8B38F312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649F6612-E782-4C70-82BB-EF318CC77383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70</a:t>
                </a:r>
              </a:p>
            </p:txBody>
          </p:sp>
        </p:grpSp>
      </p:grp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AB2A0342-259A-D930-C5C4-F39C5AF9B7CB}"/>
              </a:ext>
            </a:extLst>
          </p:cNvPr>
          <p:cNvSpPr/>
          <p:nvPr userDrawn="1"/>
        </p:nvSpPr>
        <p:spPr>
          <a:xfrm>
            <a:off x="11170444" y="299244"/>
            <a:ext cx="505399" cy="505399"/>
          </a:xfrm>
          <a:custGeom>
            <a:avLst/>
            <a:gdLst>
              <a:gd name="connsiteX0" fmla="*/ 1065181 w 1349978"/>
              <a:gd name="connsiteY0" fmla="*/ 378046 h 1349978"/>
              <a:gd name="connsiteX1" fmla="*/ 1122807 w 1349978"/>
              <a:gd name="connsiteY1" fmla="*/ 529779 h 1349978"/>
              <a:gd name="connsiteX2" fmla="*/ 1190816 w 1349978"/>
              <a:gd name="connsiteY2" fmla="*/ 640841 h 1349978"/>
              <a:gd name="connsiteX3" fmla="*/ 1152716 w 1349978"/>
              <a:gd name="connsiteY3" fmla="*/ 640841 h 1349978"/>
              <a:gd name="connsiteX4" fmla="*/ 1091851 w 1349978"/>
              <a:gd name="connsiteY4" fmla="*/ 576547 h 1349978"/>
              <a:gd name="connsiteX5" fmla="*/ 1060228 w 1349978"/>
              <a:gd name="connsiteY5" fmla="*/ 576547 h 1349978"/>
              <a:gd name="connsiteX6" fmla="*/ 1060228 w 1349978"/>
              <a:gd name="connsiteY6" fmla="*/ 671988 h 1349978"/>
              <a:gd name="connsiteX7" fmla="*/ 1287781 w 1349978"/>
              <a:gd name="connsiteY7" fmla="*/ 671988 h 1349978"/>
              <a:gd name="connsiteX8" fmla="*/ 1226725 w 1349978"/>
              <a:gd name="connsiteY8" fmla="*/ 511777 h 1349978"/>
              <a:gd name="connsiteX9" fmla="*/ 1163289 w 1349978"/>
              <a:gd name="connsiteY9" fmla="*/ 408717 h 1349978"/>
              <a:gd name="connsiteX10" fmla="*/ 1192054 w 1349978"/>
              <a:gd name="connsiteY10" fmla="*/ 408907 h 1349978"/>
              <a:gd name="connsiteX11" fmla="*/ 1192054 w 1349978"/>
              <a:gd name="connsiteY11" fmla="*/ 409002 h 1349978"/>
              <a:gd name="connsiteX12" fmla="*/ 1260444 w 1349978"/>
              <a:gd name="connsiteY12" fmla="*/ 473296 h 1349978"/>
              <a:gd name="connsiteX13" fmla="*/ 1290733 w 1349978"/>
              <a:gd name="connsiteY13" fmla="*/ 473296 h 1349978"/>
              <a:gd name="connsiteX14" fmla="*/ 1290733 w 1349978"/>
              <a:gd name="connsiteY14" fmla="*/ 378046 h 1349978"/>
              <a:gd name="connsiteX15" fmla="*/ 801053 w 1349978"/>
              <a:gd name="connsiteY15" fmla="*/ 378046 h 1349978"/>
              <a:gd name="connsiteX16" fmla="*/ 858679 w 1349978"/>
              <a:gd name="connsiteY16" fmla="*/ 529779 h 1349978"/>
              <a:gd name="connsiteX17" fmla="*/ 926688 w 1349978"/>
              <a:gd name="connsiteY17" fmla="*/ 640841 h 1349978"/>
              <a:gd name="connsiteX18" fmla="*/ 888588 w 1349978"/>
              <a:gd name="connsiteY18" fmla="*/ 640841 h 1349978"/>
              <a:gd name="connsiteX19" fmla="*/ 827723 w 1349978"/>
              <a:gd name="connsiteY19" fmla="*/ 576547 h 1349978"/>
              <a:gd name="connsiteX20" fmla="*/ 796100 w 1349978"/>
              <a:gd name="connsiteY20" fmla="*/ 576547 h 1349978"/>
              <a:gd name="connsiteX21" fmla="*/ 796100 w 1349978"/>
              <a:gd name="connsiteY21" fmla="*/ 671988 h 1349978"/>
              <a:gd name="connsiteX22" fmla="*/ 1023652 w 1349978"/>
              <a:gd name="connsiteY22" fmla="*/ 671988 h 1349978"/>
              <a:gd name="connsiteX23" fmla="*/ 962597 w 1349978"/>
              <a:gd name="connsiteY23" fmla="*/ 511777 h 1349978"/>
              <a:gd name="connsiteX24" fmla="*/ 899161 w 1349978"/>
              <a:gd name="connsiteY24" fmla="*/ 408717 h 1349978"/>
              <a:gd name="connsiteX25" fmla="*/ 927926 w 1349978"/>
              <a:gd name="connsiteY25" fmla="*/ 408907 h 1349978"/>
              <a:gd name="connsiteX26" fmla="*/ 927926 w 1349978"/>
              <a:gd name="connsiteY26" fmla="*/ 409002 h 1349978"/>
              <a:gd name="connsiteX27" fmla="*/ 996316 w 1349978"/>
              <a:gd name="connsiteY27" fmla="*/ 473296 h 1349978"/>
              <a:gd name="connsiteX28" fmla="*/ 1026891 w 1349978"/>
              <a:gd name="connsiteY28" fmla="*/ 473296 h 1349978"/>
              <a:gd name="connsiteX29" fmla="*/ 1026891 w 1349978"/>
              <a:gd name="connsiteY29" fmla="*/ 378046 h 1349978"/>
              <a:gd name="connsiteX30" fmla="*/ 606933 w 1349978"/>
              <a:gd name="connsiteY30" fmla="*/ 378046 h 1349978"/>
              <a:gd name="connsiteX31" fmla="*/ 606933 w 1349978"/>
              <a:gd name="connsiteY31" fmla="*/ 409193 h 1349978"/>
              <a:gd name="connsiteX32" fmla="*/ 614077 w 1349978"/>
              <a:gd name="connsiteY32" fmla="*/ 409193 h 1349978"/>
              <a:gd name="connsiteX33" fmla="*/ 637889 w 1349978"/>
              <a:gd name="connsiteY33" fmla="*/ 432815 h 1349978"/>
              <a:gd name="connsiteX34" fmla="*/ 637889 w 1349978"/>
              <a:gd name="connsiteY34" fmla="*/ 617028 h 1349978"/>
              <a:gd name="connsiteX35" fmla="*/ 614077 w 1349978"/>
              <a:gd name="connsiteY35" fmla="*/ 640650 h 1349978"/>
              <a:gd name="connsiteX36" fmla="*/ 606933 w 1349978"/>
              <a:gd name="connsiteY36" fmla="*/ 640650 h 1349978"/>
              <a:gd name="connsiteX37" fmla="*/ 606933 w 1349978"/>
              <a:gd name="connsiteY37" fmla="*/ 671797 h 1349978"/>
              <a:gd name="connsiteX38" fmla="*/ 763429 w 1349978"/>
              <a:gd name="connsiteY38" fmla="*/ 671797 h 1349978"/>
              <a:gd name="connsiteX39" fmla="*/ 763429 w 1349978"/>
              <a:gd name="connsiteY39" fmla="*/ 640650 h 1349978"/>
              <a:gd name="connsiteX40" fmla="*/ 756285 w 1349978"/>
              <a:gd name="connsiteY40" fmla="*/ 640650 h 1349978"/>
              <a:gd name="connsiteX41" fmla="*/ 732663 w 1349978"/>
              <a:gd name="connsiteY41" fmla="*/ 617028 h 1349978"/>
              <a:gd name="connsiteX42" fmla="*/ 732663 w 1349978"/>
              <a:gd name="connsiteY42" fmla="*/ 432815 h 1349978"/>
              <a:gd name="connsiteX43" fmla="*/ 756285 w 1349978"/>
              <a:gd name="connsiteY43" fmla="*/ 409193 h 1349978"/>
              <a:gd name="connsiteX44" fmla="*/ 763429 w 1349978"/>
              <a:gd name="connsiteY44" fmla="*/ 409193 h 1349978"/>
              <a:gd name="connsiteX45" fmla="*/ 763429 w 1349978"/>
              <a:gd name="connsiteY45" fmla="*/ 378046 h 1349978"/>
              <a:gd name="connsiteX46" fmla="*/ 325470 w 1349978"/>
              <a:gd name="connsiteY46" fmla="*/ 378046 h 1349978"/>
              <a:gd name="connsiteX47" fmla="*/ 325470 w 1349978"/>
              <a:gd name="connsiteY47" fmla="*/ 409383 h 1349978"/>
              <a:gd name="connsiteX48" fmla="*/ 332614 w 1349978"/>
              <a:gd name="connsiteY48" fmla="*/ 409383 h 1349978"/>
              <a:gd name="connsiteX49" fmla="*/ 356236 w 1349978"/>
              <a:gd name="connsiteY49" fmla="*/ 433005 h 1349978"/>
              <a:gd name="connsiteX50" fmla="*/ 356236 w 1349978"/>
              <a:gd name="connsiteY50" fmla="*/ 617219 h 1349978"/>
              <a:gd name="connsiteX51" fmla="*/ 332614 w 1349978"/>
              <a:gd name="connsiteY51" fmla="*/ 640841 h 1349978"/>
              <a:gd name="connsiteX52" fmla="*/ 325470 w 1349978"/>
              <a:gd name="connsiteY52" fmla="*/ 640841 h 1349978"/>
              <a:gd name="connsiteX53" fmla="*/ 325470 w 1349978"/>
              <a:gd name="connsiteY53" fmla="*/ 671988 h 1349978"/>
              <a:gd name="connsiteX54" fmla="*/ 574453 w 1349978"/>
              <a:gd name="connsiteY54" fmla="*/ 672178 h 1349978"/>
              <a:gd name="connsiteX55" fmla="*/ 574453 w 1349978"/>
              <a:gd name="connsiteY55" fmla="*/ 672083 h 1349978"/>
              <a:gd name="connsiteX56" fmla="*/ 574453 w 1349978"/>
              <a:gd name="connsiteY56" fmla="*/ 576642 h 1349978"/>
              <a:gd name="connsiteX57" fmla="*/ 542831 w 1349978"/>
              <a:gd name="connsiteY57" fmla="*/ 576642 h 1349978"/>
              <a:gd name="connsiteX58" fmla="*/ 481966 w 1349978"/>
              <a:gd name="connsiteY58" fmla="*/ 640936 h 1349978"/>
              <a:gd name="connsiteX59" fmla="*/ 450343 w 1349978"/>
              <a:gd name="connsiteY59" fmla="*/ 640936 h 1349978"/>
              <a:gd name="connsiteX60" fmla="*/ 450343 w 1349978"/>
              <a:gd name="connsiteY60" fmla="*/ 540733 h 1349978"/>
              <a:gd name="connsiteX61" fmla="*/ 461582 w 1349978"/>
              <a:gd name="connsiteY61" fmla="*/ 540733 h 1349978"/>
              <a:gd name="connsiteX62" fmla="*/ 485395 w 1349978"/>
              <a:gd name="connsiteY62" fmla="*/ 564546 h 1349978"/>
              <a:gd name="connsiteX63" fmla="*/ 485395 w 1349978"/>
              <a:gd name="connsiteY63" fmla="*/ 576452 h 1349978"/>
              <a:gd name="connsiteX64" fmla="*/ 516541 w 1349978"/>
              <a:gd name="connsiteY64" fmla="*/ 576452 h 1349978"/>
              <a:gd name="connsiteX65" fmla="*/ 516541 w 1349978"/>
              <a:gd name="connsiteY65" fmla="*/ 473677 h 1349978"/>
              <a:gd name="connsiteX66" fmla="*/ 485395 w 1349978"/>
              <a:gd name="connsiteY66" fmla="*/ 473677 h 1349978"/>
              <a:gd name="connsiteX67" fmla="*/ 485395 w 1349978"/>
              <a:gd name="connsiteY67" fmla="*/ 485583 h 1349978"/>
              <a:gd name="connsiteX68" fmla="*/ 461582 w 1349978"/>
              <a:gd name="connsiteY68" fmla="*/ 509396 h 1349978"/>
              <a:gd name="connsiteX69" fmla="*/ 450343 w 1349978"/>
              <a:gd name="connsiteY69" fmla="*/ 509396 h 1349978"/>
              <a:gd name="connsiteX70" fmla="*/ 450343 w 1349978"/>
              <a:gd name="connsiteY70" fmla="*/ 409193 h 1349978"/>
              <a:gd name="connsiteX71" fmla="*/ 481966 w 1349978"/>
              <a:gd name="connsiteY71" fmla="*/ 409193 h 1349978"/>
              <a:gd name="connsiteX72" fmla="*/ 542831 w 1349978"/>
              <a:gd name="connsiteY72" fmla="*/ 473487 h 1349978"/>
              <a:gd name="connsiteX73" fmla="*/ 574453 w 1349978"/>
              <a:gd name="connsiteY73" fmla="*/ 473487 h 1349978"/>
              <a:gd name="connsiteX74" fmla="*/ 574453 w 1349978"/>
              <a:gd name="connsiteY74" fmla="*/ 378046 h 1349978"/>
              <a:gd name="connsiteX75" fmla="*/ 62866 w 1349978"/>
              <a:gd name="connsiteY75" fmla="*/ 378046 h 1349978"/>
              <a:gd name="connsiteX76" fmla="*/ 62866 w 1349978"/>
              <a:gd name="connsiteY76" fmla="*/ 473296 h 1349978"/>
              <a:gd name="connsiteX77" fmla="*/ 93155 w 1349978"/>
              <a:gd name="connsiteY77" fmla="*/ 473296 h 1349978"/>
              <a:gd name="connsiteX78" fmla="*/ 161735 w 1349978"/>
              <a:gd name="connsiteY78" fmla="*/ 409002 h 1349978"/>
              <a:gd name="connsiteX79" fmla="*/ 161735 w 1349978"/>
              <a:gd name="connsiteY79" fmla="*/ 408907 h 1349978"/>
              <a:gd name="connsiteX80" fmla="*/ 190310 w 1349978"/>
              <a:gd name="connsiteY80" fmla="*/ 408717 h 1349978"/>
              <a:gd name="connsiteX81" fmla="*/ 126874 w 1349978"/>
              <a:gd name="connsiteY81" fmla="*/ 511777 h 1349978"/>
              <a:gd name="connsiteX82" fmla="*/ 52007 w 1349978"/>
              <a:gd name="connsiteY82" fmla="*/ 671988 h 1349978"/>
              <a:gd name="connsiteX83" fmla="*/ 293371 w 1349978"/>
              <a:gd name="connsiteY83" fmla="*/ 671988 h 1349978"/>
              <a:gd name="connsiteX84" fmla="*/ 293371 w 1349978"/>
              <a:gd name="connsiteY84" fmla="*/ 576547 h 1349978"/>
              <a:gd name="connsiteX85" fmla="*/ 261748 w 1349978"/>
              <a:gd name="connsiteY85" fmla="*/ 576547 h 1349978"/>
              <a:gd name="connsiteX86" fmla="*/ 201169 w 1349978"/>
              <a:gd name="connsiteY86" fmla="*/ 640841 h 1349978"/>
              <a:gd name="connsiteX87" fmla="*/ 162878 w 1349978"/>
              <a:gd name="connsiteY87" fmla="*/ 640841 h 1349978"/>
              <a:gd name="connsiteX88" fmla="*/ 231077 w 1349978"/>
              <a:gd name="connsiteY88" fmla="*/ 529779 h 1349978"/>
              <a:gd name="connsiteX89" fmla="*/ 299086 w 1349978"/>
              <a:gd name="connsiteY89" fmla="*/ 378046 h 1349978"/>
              <a:gd name="connsiteX90" fmla="*/ 0 w 1349978"/>
              <a:gd name="connsiteY90" fmla="*/ 0 h 1349978"/>
              <a:gd name="connsiteX91" fmla="*/ 1349978 w 1349978"/>
              <a:gd name="connsiteY91" fmla="*/ 0 h 1349978"/>
              <a:gd name="connsiteX92" fmla="*/ 1349788 w 1349978"/>
              <a:gd name="connsiteY92" fmla="*/ 1349978 h 1349978"/>
              <a:gd name="connsiteX93" fmla="*/ 675037 w 1349978"/>
              <a:gd name="connsiteY93" fmla="*/ 1205389 h 1349978"/>
              <a:gd name="connsiteX94" fmla="*/ 0 w 1349978"/>
              <a:gd name="connsiteY94" fmla="*/ 1349978 h 1349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349978" h="1349978">
                <a:moveTo>
                  <a:pt x="1065181" y="378046"/>
                </a:moveTo>
                <a:cubicBezTo>
                  <a:pt x="1065181" y="378046"/>
                  <a:pt x="1029462" y="424814"/>
                  <a:pt x="1122807" y="529779"/>
                </a:cubicBezTo>
                <a:cubicBezTo>
                  <a:pt x="1122807" y="529779"/>
                  <a:pt x="1189006" y="607027"/>
                  <a:pt x="1190816" y="640841"/>
                </a:cubicBezTo>
                <a:lnTo>
                  <a:pt x="1152716" y="640841"/>
                </a:lnTo>
                <a:cubicBezTo>
                  <a:pt x="1097757" y="640841"/>
                  <a:pt x="1091851" y="576547"/>
                  <a:pt x="1091851" y="576547"/>
                </a:cubicBezTo>
                <a:lnTo>
                  <a:pt x="1060228" y="576547"/>
                </a:lnTo>
                <a:lnTo>
                  <a:pt x="1060228" y="671988"/>
                </a:lnTo>
                <a:lnTo>
                  <a:pt x="1287781" y="671988"/>
                </a:lnTo>
                <a:cubicBezTo>
                  <a:pt x="1287781" y="671988"/>
                  <a:pt x="1329119" y="627411"/>
                  <a:pt x="1226725" y="511777"/>
                </a:cubicBezTo>
                <a:cubicBezTo>
                  <a:pt x="1226725" y="511777"/>
                  <a:pt x="1173004" y="456627"/>
                  <a:pt x="1163289" y="408717"/>
                </a:cubicBezTo>
                <a:lnTo>
                  <a:pt x="1192054" y="408907"/>
                </a:lnTo>
                <a:lnTo>
                  <a:pt x="1192054" y="409002"/>
                </a:lnTo>
                <a:cubicBezTo>
                  <a:pt x="1255300" y="409002"/>
                  <a:pt x="1260444" y="473296"/>
                  <a:pt x="1260444" y="473296"/>
                </a:cubicBezTo>
                <a:lnTo>
                  <a:pt x="1290733" y="473296"/>
                </a:lnTo>
                <a:lnTo>
                  <a:pt x="1290733" y="378046"/>
                </a:lnTo>
                <a:close/>
                <a:moveTo>
                  <a:pt x="801053" y="378046"/>
                </a:moveTo>
                <a:cubicBezTo>
                  <a:pt x="801053" y="378046"/>
                  <a:pt x="765334" y="424814"/>
                  <a:pt x="858679" y="529779"/>
                </a:cubicBezTo>
                <a:cubicBezTo>
                  <a:pt x="858679" y="529779"/>
                  <a:pt x="924878" y="607027"/>
                  <a:pt x="926688" y="640841"/>
                </a:cubicBezTo>
                <a:lnTo>
                  <a:pt x="888588" y="640841"/>
                </a:lnTo>
                <a:cubicBezTo>
                  <a:pt x="833629" y="640841"/>
                  <a:pt x="827723" y="576547"/>
                  <a:pt x="827723" y="576547"/>
                </a:cubicBezTo>
                <a:lnTo>
                  <a:pt x="796100" y="576547"/>
                </a:lnTo>
                <a:lnTo>
                  <a:pt x="796100" y="671988"/>
                </a:lnTo>
                <a:lnTo>
                  <a:pt x="1023652" y="671988"/>
                </a:lnTo>
                <a:cubicBezTo>
                  <a:pt x="1023652" y="671988"/>
                  <a:pt x="1064991" y="627411"/>
                  <a:pt x="962597" y="511777"/>
                </a:cubicBezTo>
                <a:cubicBezTo>
                  <a:pt x="962597" y="511777"/>
                  <a:pt x="908876" y="456627"/>
                  <a:pt x="899161" y="408717"/>
                </a:cubicBezTo>
                <a:lnTo>
                  <a:pt x="927926" y="408907"/>
                </a:lnTo>
                <a:lnTo>
                  <a:pt x="927926" y="409002"/>
                </a:lnTo>
                <a:cubicBezTo>
                  <a:pt x="991363" y="409002"/>
                  <a:pt x="996316" y="473296"/>
                  <a:pt x="996316" y="473296"/>
                </a:cubicBezTo>
                <a:lnTo>
                  <a:pt x="1026891" y="473296"/>
                </a:lnTo>
                <a:lnTo>
                  <a:pt x="1026891" y="378046"/>
                </a:lnTo>
                <a:close/>
                <a:moveTo>
                  <a:pt x="606933" y="378046"/>
                </a:moveTo>
                <a:lnTo>
                  <a:pt x="606933" y="409193"/>
                </a:lnTo>
                <a:lnTo>
                  <a:pt x="614077" y="409193"/>
                </a:lnTo>
                <a:cubicBezTo>
                  <a:pt x="627316" y="409193"/>
                  <a:pt x="637889" y="419766"/>
                  <a:pt x="637889" y="432815"/>
                </a:cubicBezTo>
                <a:lnTo>
                  <a:pt x="637889" y="617028"/>
                </a:lnTo>
                <a:cubicBezTo>
                  <a:pt x="637889" y="629982"/>
                  <a:pt x="627316" y="640650"/>
                  <a:pt x="614077" y="640650"/>
                </a:cubicBezTo>
                <a:lnTo>
                  <a:pt x="606933" y="640650"/>
                </a:lnTo>
                <a:lnTo>
                  <a:pt x="606933" y="671797"/>
                </a:lnTo>
                <a:lnTo>
                  <a:pt x="763429" y="671797"/>
                </a:lnTo>
                <a:lnTo>
                  <a:pt x="763429" y="640650"/>
                </a:lnTo>
                <a:lnTo>
                  <a:pt x="756285" y="640650"/>
                </a:lnTo>
                <a:cubicBezTo>
                  <a:pt x="743331" y="640650"/>
                  <a:pt x="732663" y="629982"/>
                  <a:pt x="732663" y="617028"/>
                </a:cubicBezTo>
                <a:lnTo>
                  <a:pt x="732663" y="432815"/>
                </a:lnTo>
                <a:cubicBezTo>
                  <a:pt x="732663" y="419861"/>
                  <a:pt x="743236" y="409193"/>
                  <a:pt x="756285" y="409193"/>
                </a:cubicBezTo>
                <a:lnTo>
                  <a:pt x="763429" y="409193"/>
                </a:lnTo>
                <a:lnTo>
                  <a:pt x="763429" y="378046"/>
                </a:lnTo>
                <a:close/>
                <a:moveTo>
                  <a:pt x="325470" y="378046"/>
                </a:moveTo>
                <a:lnTo>
                  <a:pt x="325470" y="409383"/>
                </a:lnTo>
                <a:lnTo>
                  <a:pt x="332614" y="409383"/>
                </a:lnTo>
                <a:cubicBezTo>
                  <a:pt x="345568" y="409383"/>
                  <a:pt x="356236" y="420051"/>
                  <a:pt x="356236" y="433005"/>
                </a:cubicBezTo>
                <a:lnTo>
                  <a:pt x="356236" y="617219"/>
                </a:lnTo>
                <a:cubicBezTo>
                  <a:pt x="356236" y="630173"/>
                  <a:pt x="345663" y="640841"/>
                  <a:pt x="332614" y="640841"/>
                </a:cubicBezTo>
                <a:lnTo>
                  <a:pt x="325470" y="640841"/>
                </a:lnTo>
                <a:lnTo>
                  <a:pt x="325470" y="671988"/>
                </a:lnTo>
                <a:lnTo>
                  <a:pt x="574453" y="672178"/>
                </a:lnTo>
                <a:lnTo>
                  <a:pt x="574453" y="672083"/>
                </a:lnTo>
                <a:lnTo>
                  <a:pt x="574453" y="576642"/>
                </a:lnTo>
                <a:lnTo>
                  <a:pt x="542831" y="576642"/>
                </a:lnTo>
                <a:cubicBezTo>
                  <a:pt x="542831" y="576642"/>
                  <a:pt x="537020" y="640936"/>
                  <a:pt x="481966" y="640936"/>
                </a:cubicBezTo>
                <a:lnTo>
                  <a:pt x="450343" y="640936"/>
                </a:lnTo>
                <a:lnTo>
                  <a:pt x="450343" y="540733"/>
                </a:lnTo>
                <a:lnTo>
                  <a:pt x="461582" y="540733"/>
                </a:lnTo>
                <a:cubicBezTo>
                  <a:pt x="474822" y="540733"/>
                  <a:pt x="485395" y="551401"/>
                  <a:pt x="485395" y="564546"/>
                </a:cubicBezTo>
                <a:lnTo>
                  <a:pt x="485395" y="576452"/>
                </a:lnTo>
                <a:lnTo>
                  <a:pt x="516541" y="576452"/>
                </a:lnTo>
                <a:lnTo>
                  <a:pt x="516541" y="473677"/>
                </a:lnTo>
                <a:lnTo>
                  <a:pt x="485395" y="473677"/>
                </a:lnTo>
                <a:lnTo>
                  <a:pt x="485395" y="485583"/>
                </a:lnTo>
                <a:cubicBezTo>
                  <a:pt x="485395" y="498823"/>
                  <a:pt x="474822" y="509396"/>
                  <a:pt x="461582" y="509396"/>
                </a:cubicBezTo>
                <a:lnTo>
                  <a:pt x="450343" y="509396"/>
                </a:lnTo>
                <a:lnTo>
                  <a:pt x="450343" y="409193"/>
                </a:lnTo>
                <a:lnTo>
                  <a:pt x="481966" y="409193"/>
                </a:lnTo>
                <a:cubicBezTo>
                  <a:pt x="536925" y="409193"/>
                  <a:pt x="542831" y="473487"/>
                  <a:pt x="542831" y="473487"/>
                </a:cubicBezTo>
                <a:lnTo>
                  <a:pt x="574453" y="473487"/>
                </a:lnTo>
                <a:lnTo>
                  <a:pt x="574453" y="378046"/>
                </a:lnTo>
                <a:close/>
                <a:moveTo>
                  <a:pt x="62866" y="378046"/>
                </a:moveTo>
                <a:lnTo>
                  <a:pt x="62866" y="473296"/>
                </a:lnTo>
                <a:lnTo>
                  <a:pt x="93155" y="473296"/>
                </a:lnTo>
                <a:cubicBezTo>
                  <a:pt x="93155" y="473296"/>
                  <a:pt x="98299" y="409002"/>
                  <a:pt x="161735" y="409002"/>
                </a:cubicBezTo>
                <a:lnTo>
                  <a:pt x="161735" y="408907"/>
                </a:lnTo>
                <a:lnTo>
                  <a:pt x="190310" y="408717"/>
                </a:lnTo>
                <a:cubicBezTo>
                  <a:pt x="178404" y="454246"/>
                  <a:pt x="126874" y="511777"/>
                  <a:pt x="126874" y="511777"/>
                </a:cubicBezTo>
                <a:cubicBezTo>
                  <a:pt x="43149" y="599693"/>
                  <a:pt x="52007" y="671988"/>
                  <a:pt x="52007" y="671988"/>
                </a:cubicBezTo>
                <a:lnTo>
                  <a:pt x="293371" y="671988"/>
                </a:lnTo>
                <a:lnTo>
                  <a:pt x="293371" y="576547"/>
                </a:lnTo>
                <a:lnTo>
                  <a:pt x="261748" y="576547"/>
                </a:lnTo>
                <a:cubicBezTo>
                  <a:pt x="261748" y="576547"/>
                  <a:pt x="256128" y="640841"/>
                  <a:pt x="201169" y="640841"/>
                </a:cubicBezTo>
                <a:lnTo>
                  <a:pt x="162878" y="640841"/>
                </a:lnTo>
                <a:cubicBezTo>
                  <a:pt x="164593" y="607027"/>
                  <a:pt x="231077" y="529779"/>
                  <a:pt x="231077" y="529779"/>
                </a:cubicBezTo>
                <a:cubicBezTo>
                  <a:pt x="300991" y="451674"/>
                  <a:pt x="299086" y="378046"/>
                  <a:pt x="299086" y="378046"/>
                </a:cubicBezTo>
                <a:close/>
                <a:moveTo>
                  <a:pt x="0" y="0"/>
                </a:moveTo>
                <a:lnTo>
                  <a:pt x="1349978" y="0"/>
                </a:lnTo>
                <a:lnTo>
                  <a:pt x="1349788" y="1349978"/>
                </a:lnTo>
                <a:cubicBezTo>
                  <a:pt x="1143953" y="1257110"/>
                  <a:pt x="915543" y="1205389"/>
                  <a:pt x="675037" y="1205389"/>
                </a:cubicBezTo>
                <a:cubicBezTo>
                  <a:pt x="434530" y="1205389"/>
                  <a:pt x="205835" y="1257110"/>
                  <a:pt x="0" y="1349978"/>
                </a:cubicBezTo>
                <a:close/>
              </a:path>
            </a:pathLst>
          </a:custGeom>
          <a:solidFill>
            <a:srgbClr val="0F2DB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75790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extplatzhalter 12">
            <a:extLst>
              <a:ext uri="{FF2B5EF4-FFF2-40B4-BE49-F238E27FC236}">
                <a16:creationId xmlns:a16="http://schemas.microsoft.com/office/drawing/2014/main" id="{08867696-D4BB-4274-99DA-E1F7C1D1AB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670595"/>
            <a:ext cx="946655" cy="539942"/>
          </a:xfrm>
          <a:noFill/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74" name="Textplatzhalter 12">
            <a:extLst>
              <a:ext uri="{FF2B5EF4-FFF2-40B4-BE49-F238E27FC236}">
                <a16:creationId xmlns:a16="http://schemas.microsoft.com/office/drawing/2014/main" id="{907877DD-5B1D-4AEE-ABA4-52DD96BEDB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952545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75" name="Textplatzhalter 12">
            <a:extLst>
              <a:ext uri="{FF2B5EF4-FFF2-40B4-BE49-F238E27FC236}">
                <a16:creationId xmlns:a16="http://schemas.microsoft.com/office/drawing/2014/main" id="{F1FEB128-FEDB-4E1C-B935-6290A27AC5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593520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76" name="Textplatzhalter 12">
            <a:extLst>
              <a:ext uri="{FF2B5EF4-FFF2-40B4-BE49-F238E27FC236}">
                <a16:creationId xmlns:a16="http://schemas.microsoft.com/office/drawing/2014/main" id="{AA9AE1DF-DBF2-4FD9-94A7-2C59E1F53D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234495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5</a:t>
            </a:r>
          </a:p>
        </p:txBody>
      </p:sp>
      <p:sp>
        <p:nvSpPr>
          <p:cNvPr id="77" name="Textplatzhalter 12">
            <a:extLst>
              <a:ext uri="{FF2B5EF4-FFF2-40B4-BE49-F238E27FC236}">
                <a16:creationId xmlns:a16="http://schemas.microsoft.com/office/drawing/2014/main" id="{6BBCC3E1-662D-4F3D-B750-E4C70FFB43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75470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6</a:t>
            </a:r>
          </a:p>
        </p:txBody>
      </p:sp>
      <p:sp>
        <p:nvSpPr>
          <p:cNvPr id="78" name="Textplatzhalter 12">
            <a:extLst>
              <a:ext uri="{FF2B5EF4-FFF2-40B4-BE49-F238E27FC236}">
                <a16:creationId xmlns:a16="http://schemas.microsoft.com/office/drawing/2014/main" id="{341BE001-8BCF-4CFA-995D-4633F1EBEC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516447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7</a:t>
            </a:r>
          </a:p>
        </p:txBody>
      </p:sp>
      <p:sp>
        <p:nvSpPr>
          <p:cNvPr id="79" name="Textplatzhalter 12">
            <a:extLst>
              <a:ext uri="{FF2B5EF4-FFF2-40B4-BE49-F238E27FC236}">
                <a16:creationId xmlns:a16="http://schemas.microsoft.com/office/drawing/2014/main" id="{FF924AF4-29E6-4D0D-A656-F1385B9DE27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0" y="2311570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35" name="Textplatzhalter 12">
            <a:extLst>
              <a:ext uri="{FF2B5EF4-FFF2-40B4-BE49-F238E27FC236}">
                <a16:creationId xmlns:a16="http://schemas.microsoft.com/office/drawing/2014/main" id="{F2C8B787-6095-434A-9C6C-78A5108C8B6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8319" y="163221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6" name="Textplatzhalter 12">
            <a:extLst>
              <a:ext uri="{FF2B5EF4-FFF2-40B4-BE49-F238E27FC236}">
                <a16:creationId xmlns:a16="http://schemas.microsoft.com/office/drawing/2014/main" id="{EDBC396B-1D3D-4E70-9A15-834458035E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319" y="6091175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7" name="Textplatzhalter 12">
            <a:extLst>
              <a:ext uri="{FF2B5EF4-FFF2-40B4-BE49-F238E27FC236}">
                <a16:creationId xmlns:a16="http://schemas.microsoft.com/office/drawing/2014/main" id="{16496151-4C59-4CA7-9171-93A5E6FD0E3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8319" y="545418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8" name="Textplatzhalter 12">
            <a:extLst>
              <a:ext uri="{FF2B5EF4-FFF2-40B4-BE49-F238E27FC236}">
                <a16:creationId xmlns:a16="http://schemas.microsoft.com/office/drawing/2014/main" id="{2E872B50-F58D-4049-829B-5D4FC3DD44B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8319" y="4817187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9" name="Textplatzhalter 12">
            <a:extLst>
              <a:ext uri="{FF2B5EF4-FFF2-40B4-BE49-F238E27FC236}">
                <a16:creationId xmlns:a16="http://schemas.microsoft.com/office/drawing/2014/main" id="{365BC96D-ED2D-464E-BC70-A23FF37E8D5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8319" y="418019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0" name="Textplatzhalter 12">
            <a:extLst>
              <a:ext uri="{FF2B5EF4-FFF2-40B4-BE49-F238E27FC236}">
                <a16:creationId xmlns:a16="http://schemas.microsoft.com/office/drawing/2014/main" id="{B065DB6D-E88A-4417-88AE-F3BDA7535DF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8319" y="3543197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1" name="Textplatzhalter 12">
            <a:extLst>
              <a:ext uri="{FF2B5EF4-FFF2-40B4-BE49-F238E27FC236}">
                <a16:creationId xmlns:a16="http://schemas.microsoft.com/office/drawing/2014/main" id="{AEB6ADF8-03FE-4219-AC3D-60860EB9B1E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8319" y="290620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2" name="Textplatzhalter 12">
            <a:extLst>
              <a:ext uri="{FF2B5EF4-FFF2-40B4-BE49-F238E27FC236}">
                <a16:creationId xmlns:a16="http://schemas.microsoft.com/office/drawing/2014/main" id="{39606005-B38E-44BD-9756-AFE8B8BBACA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8319" y="2269207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008D678-508B-4EAC-8996-9B20ADAA3B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0C57EE4-17A8-41AE-AD8F-0C906241B7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8695" y="1713196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Overwrite number and add agenda item</a:t>
            </a:r>
          </a:p>
        </p:txBody>
      </p:sp>
      <p:sp>
        <p:nvSpPr>
          <p:cNvPr id="29" name="Textplatzhalter 27">
            <a:extLst>
              <a:ext uri="{FF2B5EF4-FFF2-40B4-BE49-F238E27FC236}">
                <a16:creationId xmlns:a16="http://schemas.microsoft.com/office/drawing/2014/main" id="{EDC138DF-81E8-468E-BE50-5A359E245A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8695" y="5559048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Overwrite number and add agenda item</a:t>
            </a:r>
          </a:p>
        </p:txBody>
      </p:sp>
      <p:sp>
        <p:nvSpPr>
          <p:cNvPr id="30" name="Textplatzhalter 27">
            <a:extLst>
              <a:ext uri="{FF2B5EF4-FFF2-40B4-BE49-F238E27FC236}">
                <a16:creationId xmlns:a16="http://schemas.microsoft.com/office/drawing/2014/main" id="{E67A7442-A1B4-49EA-9268-A28469018A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8695" y="4918071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31" name="Textplatzhalter 27">
            <a:extLst>
              <a:ext uri="{FF2B5EF4-FFF2-40B4-BE49-F238E27FC236}">
                <a16:creationId xmlns:a16="http://schemas.microsoft.com/office/drawing/2014/main" id="{9B7A6C1A-6494-4115-8E54-99DC0DB45D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08695" y="4277096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32" name="Textplatzhalter 27">
            <a:extLst>
              <a:ext uri="{FF2B5EF4-FFF2-40B4-BE49-F238E27FC236}">
                <a16:creationId xmlns:a16="http://schemas.microsoft.com/office/drawing/2014/main" id="{9D8685BE-5979-43B0-AC0C-74054987778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08695" y="3636121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34" name="Textplatzhalter 27">
            <a:extLst>
              <a:ext uri="{FF2B5EF4-FFF2-40B4-BE49-F238E27FC236}">
                <a16:creationId xmlns:a16="http://schemas.microsoft.com/office/drawing/2014/main" id="{F5438DE9-D033-4100-9761-E4FFFC202F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08695" y="2354171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Overwrite number and add agenda item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B278DD4-3FCE-4782-AF12-45EC1832917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55" name="Textplatzhalter 27">
            <a:extLst>
              <a:ext uri="{FF2B5EF4-FFF2-40B4-BE49-F238E27FC236}">
                <a16:creationId xmlns:a16="http://schemas.microsoft.com/office/drawing/2014/main" id="{40334521-65D4-4254-A9E2-9118257ED99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08695" y="2995146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BE5B33A-A7BA-41A0-B7C7-DAC6E90DD2F7}"/>
              </a:ext>
            </a:extLst>
          </p:cNvPr>
          <p:cNvSpPr>
            <a:spLocks noGrp="1"/>
          </p:cNvSpPr>
          <p:nvPr>
            <p:ph type="dt" sz="half" idx="41"/>
          </p:nvPr>
        </p:nvSpPr>
        <p:spPr/>
        <p:txBody>
          <a:bodyPr/>
          <a:lstStyle/>
          <a:p>
            <a:fld id="{EE24B399-C504-4BCF-8265-E5675D116EFD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600286D-DAD9-47BD-A040-82B8A71738E2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0AE30C6-34E4-46C4-8328-4D5F93748836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491717" y="6687622"/>
            <a:ext cx="184346" cy="123111"/>
          </a:xfrm>
        </p:spPr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0" name="Textplatzhalter 27">
            <a:extLst>
              <a:ext uri="{FF2B5EF4-FFF2-40B4-BE49-F238E27FC236}">
                <a16:creationId xmlns:a16="http://schemas.microsoft.com/office/drawing/2014/main" id="{58512C69-BAB1-4D42-BE3F-E7ED39890F8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969191" y="17131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 dirty="0"/>
              <a:t>Add Speaker</a:t>
            </a:r>
          </a:p>
        </p:txBody>
      </p:sp>
      <p:sp>
        <p:nvSpPr>
          <p:cNvPr id="51" name="Textplatzhalter 27">
            <a:extLst>
              <a:ext uri="{FF2B5EF4-FFF2-40B4-BE49-F238E27FC236}">
                <a16:creationId xmlns:a16="http://schemas.microsoft.com/office/drawing/2014/main" id="{DACC74A9-0A8D-447B-B0A3-A7B3E185024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509624" y="171319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52" name="Textplatzhalter 27">
            <a:extLst>
              <a:ext uri="{FF2B5EF4-FFF2-40B4-BE49-F238E27FC236}">
                <a16:creationId xmlns:a16="http://schemas.microsoft.com/office/drawing/2014/main" id="{BC8CE078-446E-44E4-82BB-784C7A3092C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69191" y="5559049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53" name="Textplatzhalter 27">
            <a:extLst>
              <a:ext uri="{FF2B5EF4-FFF2-40B4-BE49-F238E27FC236}">
                <a16:creationId xmlns:a16="http://schemas.microsoft.com/office/drawing/2014/main" id="{DF171C98-FC78-493B-8685-7FC7F1C0047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509624" y="5559049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56" name="Textplatzhalter 27">
            <a:extLst>
              <a:ext uri="{FF2B5EF4-FFF2-40B4-BE49-F238E27FC236}">
                <a16:creationId xmlns:a16="http://schemas.microsoft.com/office/drawing/2014/main" id="{4902C768-3FF3-4324-ACE9-E6CC67486D9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69191" y="49180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57" name="Textplatzhalter 27">
            <a:extLst>
              <a:ext uri="{FF2B5EF4-FFF2-40B4-BE49-F238E27FC236}">
                <a16:creationId xmlns:a16="http://schemas.microsoft.com/office/drawing/2014/main" id="{382B9CCC-AC5B-4731-B3FF-0ED29CD5232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509624" y="491807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58" name="Textplatzhalter 27">
            <a:extLst>
              <a:ext uri="{FF2B5EF4-FFF2-40B4-BE49-F238E27FC236}">
                <a16:creationId xmlns:a16="http://schemas.microsoft.com/office/drawing/2014/main" id="{0CD871D3-6404-4FD8-BAA7-341A607318F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969191" y="42770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66" name="Textplatzhalter 27">
            <a:extLst>
              <a:ext uri="{FF2B5EF4-FFF2-40B4-BE49-F238E27FC236}">
                <a16:creationId xmlns:a16="http://schemas.microsoft.com/office/drawing/2014/main" id="{EE9FAF77-111B-4232-B922-F5C2DAEC0AE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509624" y="427709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67" name="Textplatzhalter 27">
            <a:extLst>
              <a:ext uri="{FF2B5EF4-FFF2-40B4-BE49-F238E27FC236}">
                <a16:creationId xmlns:a16="http://schemas.microsoft.com/office/drawing/2014/main" id="{DCF7C6C8-DFBE-4825-ADB4-31A94B3CB72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969191" y="363612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68" name="Textplatzhalter 27">
            <a:extLst>
              <a:ext uri="{FF2B5EF4-FFF2-40B4-BE49-F238E27FC236}">
                <a16:creationId xmlns:a16="http://schemas.microsoft.com/office/drawing/2014/main" id="{2F1B5A69-546B-4EB7-BE67-2CEF1A9F4DA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509624" y="363612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69" name="Textplatzhalter 27">
            <a:extLst>
              <a:ext uri="{FF2B5EF4-FFF2-40B4-BE49-F238E27FC236}">
                <a16:creationId xmlns:a16="http://schemas.microsoft.com/office/drawing/2014/main" id="{2CA2A27B-96C0-4A80-8249-E8495A5FF8D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69191" y="299514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70" name="Textplatzhalter 27">
            <a:extLst>
              <a:ext uri="{FF2B5EF4-FFF2-40B4-BE49-F238E27FC236}">
                <a16:creationId xmlns:a16="http://schemas.microsoft.com/office/drawing/2014/main" id="{08CDD6D7-EDFC-4C37-99AB-4969F8D6D03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509624" y="299514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71" name="Textplatzhalter 27">
            <a:extLst>
              <a:ext uri="{FF2B5EF4-FFF2-40B4-BE49-F238E27FC236}">
                <a16:creationId xmlns:a16="http://schemas.microsoft.com/office/drawing/2014/main" id="{FCDE6D54-5B75-4F38-8485-8FC6CF1A426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969191" y="23541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72" name="Textplatzhalter 27">
            <a:extLst>
              <a:ext uri="{FF2B5EF4-FFF2-40B4-BE49-F238E27FC236}">
                <a16:creationId xmlns:a16="http://schemas.microsoft.com/office/drawing/2014/main" id="{895225C6-8D81-4835-904C-A57B5DC158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509624" y="235417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</p:spTree>
    <p:extLst>
      <p:ext uri="{BB962C8B-B14F-4D97-AF65-F5344CB8AC3E}">
        <p14:creationId xmlns:p14="http://schemas.microsoft.com/office/powerpoint/2010/main" val="32916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platzhalter 12">
            <a:extLst>
              <a:ext uri="{FF2B5EF4-FFF2-40B4-BE49-F238E27FC236}">
                <a16:creationId xmlns:a16="http://schemas.microsoft.com/office/drawing/2014/main" id="{60B1A2EF-7EA6-48D0-837F-6AA82730A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8319" y="163221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5" name="Textplatzhalter 12">
            <a:extLst>
              <a:ext uri="{FF2B5EF4-FFF2-40B4-BE49-F238E27FC236}">
                <a16:creationId xmlns:a16="http://schemas.microsoft.com/office/drawing/2014/main" id="{11D754A6-9116-418B-B54D-167359953A8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319" y="6091175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6" name="Textplatzhalter 12">
            <a:extLst>
              <a:ext uri="{FF2B5EF4-FFF2-40B4-BE49-F238E27FC236}">
                <a16:creationId xmlns:a16="http://schemas.microsoft.com/office/drawing/2014/main" id="{2A741A2A-D48F-4186-A933-A38C7FB3FD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8319" y="545418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2" name="Textplatzhalter 12">
            <a:extLst>
              <a:ext uri="{FF2B5EF4-FFF2-40B4-BE49-F238E27FC236}">
                <a16:creationId xmlns:a16="http://schemas.microsoft.com/office/drawing/2014/main" id="{0C3A2905-336F-4115-8CFF-4EDC8CA10A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8319" y="4817187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3" name="Textplatzhalter 12">
            <a:extLst>
              <a:ext uri="{FF2B5EF4-FFF2-40B4-BE49-F238E27FC236}">
                <a16:creationId xmlns:a16="http://schemas.microsoft.com/office/drawing/2014/main" id="{D2E7C502-228D-4891-B233-D5B3639E68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8319" y="418019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6" name="Textplatzhalter 12">
            <a:extLst>
              <a:ext uri="{FF2B5EF4-FFF2-40B4-BE49-F238E27FC236}">
                <a16:creationId xmlns:a16="http://schemas.microsoft.com/office/drawing/2014/main" id="{1C5C67FD-A2AC-4A23-ADAA-700FEE6087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8319" y="3543197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8" name="Textplatzhalter 12">
            <a:extLst>
              <a:ext uri="{FF2B5EF4-FFF2-40B4-BE49-F238E27FC236}">
                <a16:creationId xmlns:a16="http://schemas.microsoft.com/office/drawing/2014/main" id="{1AFD6221-79AF-4FDB-9DC1-82609545876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8319" y="290620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9" name="Textplatzhalter 12">
            <a:extLst>
              <a:ext uri="{FF2B5EF4-FFF2-40B4-BE49-F238E27FC236}">
                <a16:creationId xmlns:a16="http://schemas.microsoft.com/office/drawing/2014/main" id="{8F427141-71C3-435A-8417-99837EB6300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8319" y="2269207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0" name="Textplatzhalter 12">
            <a:extLst>
              <a:ext uri="{FF2B5EF4-FFF2-40B4-BE49-F238E27FC236}">
                <a16:creationId xmlns:a16="http://schemas.microsoft.com/office/drawing/2014/main" id="{2DD13305-EDD9-442A-B5DD-464D67D894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609040"/>
            <a:ext cx="12192000" cy="663053"/>
          </a:xfrm>
          <a:solidFill>
            <a:srgbClr val="0F2DB3"/>
          </a:solidFill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61" name="Textplatzhalter 12">
            <a:extLst>
              <a:ext uri="{FF2B5EF4-FFF2-40B4-BE49-F238E27FC236}">
                <a16:creationId xmlns:a16="http://schemas.microsoft.com/office/drawing/2014/main" id="{8C6B7371-9556-494C-BAFC-7DFF75248A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890990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62" name="Textplatzhalter 12">
            <a:extLst>
              <a:ext uri="{FF2B5EF4-FFF2-40B4-BE49-F238E27FC236}">
                <a16:creationId xmlns:a16="http://schemas.microsoft.com/office/drawing/2014/main" id="{C7DE99D6-5DC2-4A4C-9D8F-55BB11C9D6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53196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63" name="Textplatzhalter 12">
            <a:extLst>
              <a:ext uri="{FF2B5EF4-FFF2-40B4-BE49-F238E27FC236}">
                <a16:creationId xmlns:a16="http://schemas.microsoft.com/office/drawing/2014/main" id="{23723DAB-6D78-4724-8772-28387EA5B4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172940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5</a:t>
            </a:r>
          </a:p>
        </p:txBody>
      </p:sp>
      <p:sp>
        <p:nvSpPr>
          <p:cNvPr id="64" name="Textplatzhalter 12">
            <a:extLst>
              <a:ext uri="{FF2B5EF4-FFF2-40B4-BE49-F238E27FC236}">
                <a16:creationId xmlns:a16="http://schemas.microsoft.com/office/drawing/2014/main" id="{769E9AD8-F60D-43DC-BF3A-5026662A372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1391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6</a:t>
            </a:r>
          </a:p>
        </p:txBody>
      </p:sp>
      <p:sp>
        <p:nvSpPr>
          <p:cNvPr id="65" name="Textplatzhalter 12">
            <a:extLst>
              <a:ext uri="{FF2B5EF4-FFF2-40B4-BE49-F238E27FC236}">
                <a16:creationId xmlns:a16="http://schemas.microsoft.com/office/drawing/2014/main" id="{1081EFB9-FE18-4F3C-8672-EB70FF7EA8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454892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7</a:t>
            </a:r>
          </a:p>
        </p:txBody>
      </p:sp>
      <p:sp>
        <p:nvSpPr>
          <p:cNvPr id="66" name="Textplatzhalter 12">
            <a:extLst>
              <a:ext uri="{FF2B5EF4-FFF2-40B4-BE49-F238E27FC236}">
                <a16:creationId xmlns:a16="http://schemas.microsoft.com/office/drawing/2014/main" id="{E94757B5-7F5A-4E0B-840E-C22292BF9CC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0" y="225001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008D678-508B-4EAC-8996-9B20ADAA3B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B278DD4-3FCE-4782-AF12-45EC1832917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0C57EE4-17A8-41AE-AD8F-0C906241B7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8694" y="1713196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Overwrite number and add agenda item</a:t>
            </a:r>
          </a:p>
        </p:txBody>
      </p:sp>
      <p:sp>
        <p:nvSpPr>
          <p:cNvPr id="29" name="Textplatzhalter 27">
            <a:extLst>
              <a:ext uri="{FF2B5EF4-FFF2-40B4-BE49-F238E27FC236}">
                <a16:creationId xmlns:a16="http://schemas.microsoft.com/office/drawing/2014/main" id="{EDC138DF-81E8-468E-BE50-5A359E245A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8694" y="5559048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Overwrite number and add agenda item</a:t>
            </a:r>
          </a:p>
        </p:txBody>
      </p:sp>
      <p:sp>
        <p:nvSpPr>
          <p:cNvPr id="30" name="Textplatzhalter 27">
            <a:extLst>
              <a:ext uri="{FF2B5EF4-FFF2-40B4-BE49-F238E27FC236}">
                <a16:creationId xmlns:a16="http://schemas.microsoft.com/office/drawing/2014/main" id="{E67A7442-A1B4-49EA-9268-A28469018A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8694" y="4918071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31" name="Textplatzhalter 27">
            <a:extLst>
              <a:ext uri="{FF2B5EF4-FFF2-40B4-BE49-F238E27FC236}">
                <a16:creationId xmlns:a16="http://schemas.microsoft.com/office/drawing/2014/main" id="{9B7A6C1A-6494-4115-8E54-99DC0DB45D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08694" y="4277096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32" name="Textplatzhalter 27">
            <a:extLst>
              <a:ext uri="{FF2B5EF4-FFF2-40B4-BE49-F238E27FC236}">
                <a16:creationId xmlns:a16="http://schemas.microsoft.com/office/drawing/2014/main" id="{9D8685BE-5979-43B0-AC0C-74054987778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08694" y="3636121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34" name="Textplatzhalter 27">
            <a:extLst>
              <a:ext uri="{FF2B5EF4-FFF2-40B4-BE49-F238E27FC236}">
                <a16:creationId xmlns:a16="http://schemas.microsoft.com/office/drawing/2014/main" id="{F5438DE9-D033-4100-9761-E4FFFC202F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08694" y="2354171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55" name="Textplatzhalter 27">
            <a:extLst>
              <a:ext uri="{FF2B5EF4-FFF2-40B4-BE49-F238E27FC236}">
                <a16:creationId xmlns:a16="http://schemas.microsoft.com/office/drawing/2014/main" id="{40334521-65D4-4254-A9E2-9118257ED99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08694" y="2995146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70E7E3D-C5E8-4192-8487-4B03A1CE2C7D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A86A96C2-6B2C-4C35-A9F7-380F5F2578D4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DCF847F-24AB-4444-A96D-7170F7D6FA4C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84C0AB1-317D-4014-8C5F-AF4B544E74C4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5" name="Textplatzhalter 27">
            <a:extLst>
              <a:ext uri="{FF2B5EF4-FFF2-40B4-BE49-F238E27FC236}">
                <a16:creationId xmlns:a16="http://schemas.microsoft.com/office/drawing/2014/main" id="{5D1F0EEC-FD48-4FB3-810E-FD14CD7BC28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69191" y="17131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 dirty="0"/>
              <a:t>Add Speaker</a:t>
            </a:r>
          </a:p>
        </p:txBody>
      </p:sp>
      <p:sp>
        <p:nvSpPr>
          <p:cNvPr id="36" name="Textplatzhalter 27">
            <a:extLst>
              <a:ext uri="{FF2B5EF4-FFF2-40B4-BE49-F238E27FC236}">
                <a16:creationId xmlns:a16="http://schemas.microsoft.com/office/drawing/2014/main" id="{918D07F7-4ACB-4BC3-B11D-0FF0B3A4B90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509624" y="171319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37" name="Textplatzhalter 27">
            <a:extLst>
              <a:ext uri="{FF2B5EF4-FFF2-40B4-BE49-F238E27FC236}">
                <a16:creationId xmlns:a16="http://schemas.microsoft.com/office/drawing/2014/main" id="{E6D3B839-D89D-4F63-8BF4-A73794E0190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969191" y="5559049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38" name="Textplatzhalter 27">
            <a:extLst>
              <a:ext uri="{FF2B5EF4-FFF2-40B4-BE49-F238E27FC236}">
                <a16:creationId xmlns:a16="http://schemas.microsoft.com/office/drawing/2014/main" id="{0046F955-E9B3-41EA-A5CF-4905849F77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509624" y="5559049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39" name="Textplatzhalter 27">
            <a:extLst>
              <a:ext uri="{FF2B5EF4-FFF2-40B4-BE49-F238E27FC236}">
                <a16:creationId xmlns:a16="http://schemas.microsoft.com/office/drawing/2014/main" id="{E56CCD57-2A45-418D-BC05-2BC530B9048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969191" y="49180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40" name="Textplatzhalter 27">
            <a:extLst>
              <a:ext uri="{FF2B5EF4-FFF2-40B4-BE49-F238E27FC236}">
                <a16:creationId xmlns:a16="http://schemas.microsoft.com/office/drawing/2014/main" id="{3E528590-4FE2-488F-9DC6-35CDF609E8B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509624" y="491807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41" name="Textplatzhalter 27">
            <a:extLst>
              <a:ext uri="{FF2B5EF4-FFF2-40B4-BE49-F238E27FC236}">
                <a16:creationId xmlns:a16="http://schemas.microsoft.com/office/drawing/2014/main" id="{24ACE534-D550-4823-937E-5E86B5B0FBB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969191" y="42770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42" name="Textplatzhalter 27">
            <a:extLst>
              <a:ext uri="{FF2B5EF4-FFF2-40B4-BE49-F238E27FC236}">
                <a16:creationId xmlns:a16="http://schemas.microsoft.com/office/drawing/2014/main" id="{69C3BCC9-69D3-4C3E-A8DE-517F0C7F2FA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509624" y="427709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43" name="Textplatzhalter 27">
            <a:extLst>
              <a:ext uri="{FF2B5EF4-FFF2-40B4-BE49-F238E27FC236}">
                <a16:creationId xmlns:a16="http://schemas.microsoft.com/office/drawing/2014/main" id="{0E48227E-5F12-4125-A9F9-EA5D1302194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969191" y="363612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47" name="Textplatzhalter 27">
            <a:extLst>
              <a:ext uri="{FF2B5EF4-FFF2-40B4-BE49-F238E27FC236}">
                <a16:creationId xmlns:a16="http://schemas.microsoft.com/office/drawing/2014/main" id="{891587E3-988F-4B4A-B30A-FD6BB8336F5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509624" y="363612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48" name="Textplatzhalter 27">
            <a:extLst>
              <a:ext uri="{FF2B5EF4-FFF2-40B4-BE49-F238E27FC236}">
                <a16:creationId xmlns:a16="http://schemas.microsoft.com/office/drawing/2014/main" id="{983071D8-3C1D-4F32-A4AC-97A0A35658F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969191" y="299514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49" name="Textplatzhalter 27">
            <a:extLst>
              <a:ext uri="{FF2B5EF4-FFF2-40B4-BE49-F238E27FC236}">
                <a16:creationId xmlns:a16="http://schemas.microsoft.com/office/drawing/2014/main" id="{2A8B2701-9772-4251-BD49-3E07FD4C80D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0509624" y="299514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50" name="Textplatzhalter 27">
            <a:extLst>
              <a:ext uri="{FF2B5EF4-FFF2-40B4-BE49-F238E27FC236}">
                <a16:creationId xmlns:a16="http://schemas.microsoft.com/office/drawing/2014/main" id="{3F0A58D0-C03A-4E00-9478-99DDF7BCEBF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969191" y="23541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51" name="Textplatzhalter 27">
            <a:extLst>
              <a:ext uri="{FF2B5EF4-FFF2-40B4-BE49-F238E27FC236}">
                <a16:creationId xmlns:a16="http://schemas.microsoft.com/office/drawing/2014/main" id="{1BDCE48B-10A1-4245-A9EB-59CC9374FB9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0509624" y="235417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</p:spTree>
    <p:extLst>
      <p:ext uri="{BB962C8B-B14F-4D97-AF65-F5344CB8AC3E}">
        <p14:creationId xmlns:p14="http://schemas.microsoft.com/office/powerpoint/2010/main" val="153056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|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Bildplatzhalter 86">
            <a:extLst>
              <a:ext uri="{FF2B5EF4-FFF2-40B4-BE49-F238E27FC236}">
                <a16:creationId xmlns:a16="http://schemas.microsoft.com/office/drawing/2014/main" id="{FB389B10-F29E-47A3-8BD0-A0132B3B5CE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0" y="3429000"/>
            <a:ext cx="12191985" cy="3429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US" noProof="0"/>
              <a:t> 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536C54-AD88-4971-B5AC-E8FD5A47527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18319" y="2681949"/>
            <a:ext cx="10086181" cy="34951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Aft>
                <a:spcPts val="0"/>
              </a:spcAft>
              <a:defRPr sz="2000">
                <a:solidFill>
                  <a:srgbClr val="0F2DB3"/>
                </a:solidFill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88" name="Titel 1">
            <a:extLst>
              <a:ext uri="{FF2B5EF4-FFF2-40B4-BE49-F238E27FC236}">
                <a16:creationId xmlns:a16="http://schemas.microsoft.com/office/drawing/2014/main" id="{6E836B88-8EA3-4A7F-B203-70EF11B1F6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1052513"/>
            <a:ext cx="10086181" cy="1370806"/>
          </a:xfrm>
        </p:spPr>
        <p:txBody>
          <a:bodyPr wrap="square" anchor="b" anchorCtr="0">
            <a:noAutofit/>
          </a:bodyPr>
          <a:lstStyle>
            <a:lvl1pPr>
              <a:lnSpc>
                <a:spcPts val="5000"/>
              </a:lnSpc>
              <a:defRPr sz="4500" b="0">
                <a:latin typeface="+mj-lt"/>
                <a:cs typeface="ZEISS Frutiger Next W1G Lt"/>
              </a:defRPr>
            </a:lvl1pPr>
          </a:lstStyle>
          <a:p>
            <a:r>
              <a:rPr lang="en-US" noProof="0"/>
              <a:t>Edit Master Cover Format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448314C-C2ED-CA6D-6996-5230E8F8E397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3EC20D7A-7F2A-B540-95E0-E43A7C1A88F0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15" name="Gerader Verbinder 14">
                <a:extLst>
                  <a:ext uri="{FF2B5EF4-FFF2-40B4-BE49-F238E27FC236}">
                    <a16:creationId xmlns:a16="http://schemas.microsoft.com/office/drawing/2014/main" id="{92588BB9-23E5-71F7-E7F7-333231A490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F21CAD7-3065-B7FE-BE9E-2AC605AD1D95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83B5569B-A939-E7D3-9FF4-BCD2FB25560B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13" name="Gerader Verbinder 12">
                <a:extLst>
                  <a:ext uri="{FF2B5EF4-FFF2-40B4-BE49-F238E27FC236}">
                    <a16:creationId xmlns:a16="http://schemas.microsoft.com/office/drawing/2014/main" id="{5718662E-235C-56D2-9BE4-2AACD698E2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A1D1C244-0574-057B-CDE6-81773D0DCAB6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86CA9CA3-8E6F-A29D-554D-7B1177B04184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11" name="Gerader Verbinder 10">
                <a:extLst>
                  <a:ext uri="{FF2B5EF4-FFF2-40B4-BE49-F238E27FC236}">
                    <a16:creationId xmlns:a16="http://schemas.microsoft.com/office/drawing/2014/main" id="{F6065C10-3E07-EDF7-7A01-B92AA9E151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F39AC09F-C048-9A84-2E6D-C9DE3F8A1DE5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214331AC-15A1-1031-45D6-EBA8E22E8FD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CD1EB07D-F647-C783-B58D-A8C4E22CCFCA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9" name="Gerader Verbinder 8">
                <a:extLst>
                  <a:ext uri="{FF2B5EF4-FFF2-40B4-BE49-F238E27FC236}">
                    <a16:creationId xmlns:a16="http://schemas.microsoft.com/office/drawing/2014/main" id="{C96FC0D8-245D-8F97-B363-5FDFC2C871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A5D48DC-838D-B554-7418-092901D558B8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200E8D5E-EB23-B625-534A-B83A7D3509D4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12B82193-E884-6A5A-A1C5-3124DD767E43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08DEC551-F682-C883-5B5B-C7D89C5D5235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92</a:t>
                </a:r>
              </a:p>
            </p:txBody>
          </p: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84BC9BE8-F82A-F2AA-1B5F-7BCC48693A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70BB8C2-260E-13CD-E21E-F48E2CF649DB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CF9690F7-E02A-7BA4-2966-74CBE4499C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CEC01D19-DECF-25D1-3E7C-2D0CB22857B9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.40</a:t>
                </a:r>
              </a:p>
            </p:txBody>
          </p:sp>
        </p:grp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B9E2328E-CEBB-9501-3BC8-B4707D868DDC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30" name="Gerader Verbinder 29">
                <a:extLst>
                  <a:ext uri="{FF2B5EF4-FFF2-40B4-BE49-F238E27FC236}">
                    <a16:creationId xmlns:a16="http://schemas.microsoft.com/office/drawing/2014/main" id="{552E295A-A461-B9AE-B96D-08197A3105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BA70D211-4D41-31BD-5E1F-151DE039E338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00</a:t>
                </a:r>
              </a:p>
            </p:txBody>
          </p:sp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6703F834-AD3B-7D58-451E-BFAFF5D5FCF3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28" name="Gerader Verbinder 27">
                <a:extLst>
                  <a:ext uri="{FF2B5EF4-FFF2-40B4-BE49-F238E27FC236}">
                    <a16:creationId xmlns:a16="http://schemas.microsoft.com/office/drawing/2014/main" id="{1700F09F-092E-F101-2E57-AF817A46E89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67093D0D-28F6-5432-43C7-0CCC1013011F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.60</a:t>
                </a: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F8A666D9-DE3B-7906-C43F-ABE8DF7D9527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26" name="Gerader Verbinder 25">
                <a:extLst>
                  <a:ext uri="{FF2B5EF4-FFF2-40B4-BE49-F238E27FC236}">
                    <a16:creationId xmlns:a16="http://schemas.microsoft.com/office/drawing/2014/main" id="{2F1739C9-4D4A-E37D-864F-3508F5326C6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520AD08B-5CBC-6872-DB3A-91C7BCDF330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.00</a:t>
                </a:r>
              </a:p>
            </p:txBody>
          </p:sp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E6274B70-4A80-FFF6-0CB3-F6C5F3D232EE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24" name="Gerader Verbinder 23">
                <a:extLst>
                  <a:ext uri="{FF2B5EF4-FFF2-40B4-BE49-F238E27FC236}">
                    <a16:creationId xmlns:a16="http://schemas.microsoft.com/office/drawing/2014/main" id="{B26CCFF8-D878-8154-6455-47237DB5D4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4365A7D4-321C-A39E-7A9E-4200336429FA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70</a:t>
                </a:r>
              </a:p>
            </p:txBody>
          </p:sp>
        </p:grpSp>
      </p:grp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E9515F5E-5392-EF8E-ADE6-7EE317AB2F41}"/>
              </a:ext>
            </a:extLst>
          </p:cNvPr>
          <p:cNvSpPr/>
          <p:nvPr userDrawn="1"/>
        </p:nvSpPr>
        <p:spPr>
          <a:xfrm>
            <a:off x="11170444" y="299244"/>
            <a:ext cx="505399" cy="505399"/>
          </a:xfrm>
          <a:custGeom>
            <a:avLst/>
            <a:gdLst>
              <a:gd name="connsiteX0" fmla="*/ 1065181 w 1349978"/>
              <a:gd name="connsiteY0" fmla="*/ 378046 h 1349978"/>
              <a:gd name="connsiteX1" fmla="*/ 1122807 w 1349978"/>
              <a:gd name="connsiteY1" fmla="*/ 529779 h 1349978"/>
              <a:gd name="connsiteX2" fmla="*/ 1190816 w 1349978"/>
              <a:gd name="connsiteY2" fmla="*/ 640841 h 1349978"/>
              <a:gd name="connsiteX3" fmla="*/ 1152716 w 1349978"/>
              <a:gd name="connsiteY3" fmla="*/ 640841 h 1349978"/>
              <a:gd name="connsiteX4" fmla="*/ 1091851 w 1349978"/>
              <a:gd name="connsiteY4" fmla="*/ 576547 h 1349978"/>
              <a:gd name="connsiteX5" fmla="*/ 1060228 w 1349978"/>
              <a:gd name="connsiteY5" fmla="*/ 576547 h 1349978"/>
              <a:gd name="connsiteX6" fmla="*/ 1060228 w 1349978"/>
              <a:gd name="connsiteY6" fmla="*/ 671988 h 1349978"/>
              <a:gd name="connsiteX7" fmla="*/ 1287781 w 1349978"/>
              <a:gd name="connsiteY7" fmla="*/ 671988 h 1349978"/>
              <a:gd name="connsiteX8" fmla="*/ 1226725 w 1349978"/>
              <a:gd name="connsiteY8" fmla="*/ 511777 h 1349978"/>
              <a:gd name="connsiteX9" fmla="*/ 1163289 w 1349978"/>
              <a:gd name="connsiteY9" fmla="*/ 408717 h 1349978"/>
              <a:gd name="connsiteX10" fmla="*/ 1192054 w 1349978"/>
              <a:gd name="connsiteY10" fmla="*/ 408907 h 1349978"/>
              <a:gd name="connsiteX11" fmla="*/ 1192054 w 1349978"/>
              <a:gd name="connsiteY11" fmla="*/ 409002 h 1349978"/>
              <a:gd name="connsiteX12" fmla="*/ 1260444 w 1349978"/>
              <a:gd name="connsiteY12" fmla="*/ 473296 h 1349978"/>
              <a:gd name="connsiteX13" fmla="*/ 1290733 w 1349978"/>
              <a:gd name="connsiteY13" fmla="*/ 473296 h 1349978"/>
              <a:gd name="connsiteX14" fmla="*/ 1290733 w 1349978"/>
              <a:gd name="connsiteY14" fmla="*/ 378046 h 1349978"/>
              <a:gd name="connsiteX15" fmla="*/ 801053 w 1349978"/>
              <a:gd name="connsiteY15" fmla="*/ 378046 h 1349978"/>
              <a:gd name="connsiteX16" fmla="*/ 858679 w 1349978"/>
              <a:gd name="connsiteY16" fmla="*/ 529779 h 1349978"/>
              <a:gd name="connsiteX17" fmla="*/ 926688 w 1349978"/>
              <a:gd name="connsiteY17" fmla="*/ 640841 h 1349978"/>
              <a:gd name="connsiteX18" fmla="*/ 888588 w 1349978"/>
              <a:gd name="connsiteY18" fmla="*/ 640841 h 1349978"/>
              <a:gd name="connsiteX19" fmla="*/ 827723 w 1349978"/>
              <a:gd name="connsiteY19" fmla="*/ 576547 h 1349978"/>
              <a:gd name="connsiteX20" fmla="*/ 796100 w 1349978"/>
              <a:gd name="connsiteY20" fmla="*/ 576547 h 1349978"/>
              <a:gd name="connsiteX21" fmla="*/ 796100 w 1349978"/>
              <a:gd name="connsiteY21" fmla="*/ 671988 h 1349978"/>
              <a:gd name="connsiteX22" fmla="*/ 1023652 w 1349978"/>
              <a:gd name="connsiteY22" fmla="*/ 671988 h 1349978"/>
              <a:gd name="connsiteX23" fmla="*/ 962597 w 1349978"/>
              <a:gd name="connsiteY23" fmla="*/ 511777 h 1349978"/>
              <a:gd name="connsiteX24" fmla="*/ 899161 w 1349978"/>
              <a:gd name="connsiteY24" fmla="*/ 408717 h 1349978"/>
              <a:gd name="connsiteX25" fmla="*/ 927926 w 1349978"/>
              <a:gd name="connsiteY25" fmla="*/ 408907 h 1349978"/>
              <a:gd name="connsiteX26" fmla="*/ 927926 w 1349978"/>
              <a:gd name="connsiteY26" fmla="*/ 409002 h 1349978"/>
              <a:gd name="connsiteX27" fmla="*/ 996316 w 1349978"/>
              <a:gd name="connsiteY27" fmla="*/ 473296 h 1349978"/>
              <a:gd name="connsiteX28" fmla="*/ 1026891 w 1349978"/>
              <a:gd name="connsiteY28" fmla="*/ 473296 h 1349978"/>
              <a:gd name="connsiteX29" fmla="*/ 1026891 w 1349978"/>
              <a:gd name="connsiteY29" fmla="*/ 378046 h 1349978"/>
              <a:gd name="connsiteX30" fmla="*/ 606933 w 1349978"/>
              <a:gd name="connsiteY30" fmla="*/ 378046 h 1349978"/>
              <a:gd name="connsiteX31" fmla="*/ 606933 w 1349978"/>
              <a:gd name="connsiteY31" fmla="*/ 409193 h 1349978"/>
              <a:gd name="connsiteX32" fmla="*/ 614077 w 1349978"/>
              <a:gd name="connsiteY32" fmla="*/ 409193 h 1349978"/>
              <a:gd name="connsiteX33" fmla="*/ 637889 w 1349978"/>
              <a:gd name="connsiteY33" fmla="*/ 432815 h 1349978"/>
              <a:gd name="connsiteX34" fmla="*/ 637889 w 1349978"/>
              <a:gd name="connsiteY34" fmla="*/ 617028 h 1349978"/>
              <a:gd name="connsiteX35" fmla="*/ 614077 w 1349978"/>
              <a:gd name="connsiteY35" fmla="*/ 640650 h 1349978"/>
              <a:gd name="connsiteX36" fmla="*/ 606933 w 1349978"/>
              <a:gd name="connsiteY36" fmla="*/ 640650 h 1349978"/>
              <a:gd name="connsiteX37" fmla="*/ 606933 w 1349978"/>
              <a:gd name="connsiteY37" fmla="*/ 671797 h 1349978"/>
              <a:gd name="connsiteX38" fmla="*/ 763429 w 1349978"/>
              <a:gd name="connsiteY38" fmla="*/ 671797 h 1349978"/>
              <a:gd name="connsiteX39" fmla="*/ 763429 w 1349978"/>
              <a:gd name="connsiteY39" fmla="*/ 640650 h 1349978"/>
              <a:gd name="connsiteX40" fmla="*/ 756285 w 1349978"/>
              <a:gd name="connsiteY40" fmla="*/ 640650 h 1349978"/>
              <a:gd name="connsiteX41" fmla="*/ 732663 w 1349978"/>
              <a:gd name="connsiteY41" fmla="*/ 617028 h 1349978"/>
              <a:gd name="connsiteX42" fmla="*/ 732663 w 1349978"/>
              <a:gd name="connsiteY42" fmla="*/ 432815 h 1349978"/>
              <a:gd name="connsiteX43" fmla="*/ 756285 w 1349978"/>
              <a:gd name="connsiteY43" fmla="*/ 409193 h 1349978"/>
              <a:gd name="connsiteX44" fmla="*/ 763429 w 1349978"/>
              <a:gd name="connsiteY44" fmla="*/ 409193 h 1349978"/>
              <a:gd name="connsiteX45" fmla="*/ 763429 w 1349978"/>
              <a:gd name="connsiteY45" fmla="*/ 378046 h 1349978"/>
              <a:gd name="connsiteX46" fmla="*/ 325470 w 1349978"/>
              <a:gd name="connsiteY46" fmla="*/ 378046 h 1349978"/>
              <a:gd name="connsiteX47" fmla="*/ 325470 w 1349978"/>
              <a:gd name="connsiteY47" fmla="*/ 409383 h 1349978"/>
              <a:gd name="connsiteX48" fmla="*/ 332614 w 1349978"/>
              <a:gd name="connsiteY48" fmla="*/ 409383 h 1349978"/>
              <a:gd name="connsiteX49" fmla="*/ 356236 w 1349978"/>
              <a:gd name="connsiteY49" fmla="*/ 433005 h 1349978"/>
              <a:gd name="connsiteX50" fmla="*/ 356236 w 1349978"/>
              <a:gd name="connsiteY50" fmla="*/ 617219 h 1349978"/>
              <a:gd name="connsiteX51" fmla="*/ 332614 w 1349978"/>
              <a:gd name="connsiteY51" fmla="*/ 640841 h 1349978"/>
              <a:gd name="connsiteX52" fmla="*/ 325470 w 1349978"/>
              <a:gd name="connsiteY52" fmla="*/ 640841 h 1349978"/>
              <a:gd name="connsiteX53" fmla="*/ 325470 w 1349978"/>
              <a:gd name="connsiteY53" fmla="*/ 671988 h 1349978"/>
              <a:gd name="connsiteX54" fmla="*/ 574453 w 1349978"/>
              <a:gd name="connsiteY54" fmla="*/ 672178 h 1349978"/>
              <a:gd name="connsiteX55" fmla="*/ 574453 w 1349978"/>
              <a:gd name="connsiteY55" fmla="*/ 672083 h 1349978"/>
              <a:gd name="connsiteX56" fmla="*/ 574453 w 1349978"/>
              <a:gd name="connsiteY56" fmla="*/ 576642 h 1349978"/>
              <a:gd name="connsiteX57" fmla="*/ 542831 w 1349978"/>
              <a:gd name="connsiteY57" fmla="*/ 576642 h 1349978"/>
              <a:gd name="connsiteX58" fmla="*/ 481966 w 1349978"/>
              <a:gd name="connsiteY58" fmla="*/ 640936 h 1349978"/>
              <a:gd name="connsiteX59" fmla="*/ 450343 w 1349978"/>
              <a:gd name="connsiteY59" fmla="*/ 640936 h 1349978"/>
              <a:gd name="connsiteX60" fmla="*/ 450343 w 1349978"/>
              <a:gd name="connsiteY60" fmla="*/ 540733 h 1349978"/>
              <a:gd name="connsiteX61" fmla="*/ 461582 w 1349978"/>
              <a:gd name="connsiteY61" fmla="*/ 540733 h 1349978"/>
              <a:gd name="connsiteX62" fmla="*/ 485395 w 1349978"/>
              <a:gd name="connsiteY62" fmla="*/ 564546 h 1349978"/>
              <a:gd name="connsiteX63" fmla="*/ 485395 w 1349978"/>
              <a:gd name="connsiteY63" fmla="*/ 576452 h 1349978"/>
              <a:gd name="connsiteX64" fmla="*/ 516541 w 1349978"/>
              <a:gd name="connsiteY64" fmla="*/ 576452 h 1349978"/>
              <a:gd name="connsiteX65" fmla="*/ 516541 w 1349978"/>
              <a:gd name="connsiteY65" fmla="*/ 473677 h 1349978"/>
              <a:gd name="connsiteX66" fmla="*/ 485395 w 1349978"/>
              <a:gd name="connsiteY66" fmla="*/ 473677 h 1349978"/>
              <a:gd name="connsiteX67" fmla="*/ 485395 w 1349978"/>
              <a:gd name="connsiteY67" fmla="*/ 485583 h 1349978"/>
              <a:gd name="connsiteX68" fmla="*/ 461582 w 1349978"/>
              <a:gd name="connsiteY68" fmla="*/ 509396 h 1349978"/>
              <a:gd name="connsiteX69" fmla="*/ 450343 w 1349978"/>
              <a:gd name="connsiteY69" fmla="*/ 509396 h 1349978"/>
              <a:gd name="connsiteX70" fmla="*/ 450343 w 1349978"/>
              <a:gd name="connsiteY70" fmla="*/ 409193 h 1349978"/>
              <a:gd name="connsiteX71" fmla="*/ 481966 w 1349978"/>
              <a:gd name="connsiteY71" fmla="*/ 409193 h 1349978"/>
              <a:gd name="connsiteX72" fmla="*/ 542831 w 1349978"/>
              <a:gd name="connsiteY72" fmla="*/ 473487 h 1349978"/>
              <a:gd name="connsiteX73" fmla="*/ 574453 w 1349978"/>
              <a:gd name="connsiteY73" fmla="*/ 473487 h 1349978"/>
              <a:gd name="connsiteX74" fmla="*/ 574453 w 1349978"/>
              <a:gd name="connsiteY74" fmla="*/ 378046 h 1349978"/>
              <a:gd name="connsiteX75" fmla="*/ 62866 w 1349978"/>
              <a:gd name="connsiteY75" fmla="*/ 378046 h 1349978"/>
              <a:gd name="connsiteX76" fmla="*/ 62866 w 1349978"/>
              <a:gd name="connsiteY76" fmla="*/ 473296 h 1349978"/>
              <a:gd name="connsiteX77" fmla="*/ 93155 w 1349978"/>
              <a:gd name="connsiteY77" fmla="*/ 473296 h 1349978"/>
              <a:gd name="connsiteX78" fmla="*/ 161735 w 1349978"/>
              <a:gd name="connsiteY78" fmla="*/ 409002 h 1349978"/>
              <a:gd name="connsiteX79" fmla="*/ 161735 w 1349978"/>
              <a:gd name="connsiteY79" fmla="*/ 408907 h 1349978"/>
              <a:gd name="connsiteX80" fmla="*/ 190310 w 1349978"/>
              <a:gd name="connsiteY80" fmla="*/ 408717 h 1349978"/>
              <a:gd name="connsiteX81" fmla="*/ 126874 w 1349978"/>
              <a:gd name="connsiteY81" fmla="*/ 511777 h 1349978"/>
              <a:gd name="connsiteX82" fmla="*/ 52007 w 1349978"/>
              <a:gd name="connsiteY82" fmla="*/ 671988 h 1349978"/>
              <a:gd name="connsiteX83" fmla="*/ 293371 w 1349978"/>
              <a:gd name="connsiteY83" fmla="*/ 671988 h 1349978"/>
              <a:gd name="connsiteX84" fmla="*/ 293371 w 1349978"/>
              <a:gd name="connsiteY84" fmla="*/ 576547 h 1349978"/>
              <a:gd name="connsiteX85" fmla="*/ 261748 w 1349978"/>
              <a:gd name="connsiteY85" fmla="*/ 576547 h 1349978"/>
              <a:gd name="connsiteX86" fmla="*/ 201169 w 1349978"/>
              <a:gd name="connsiteY86" fmla="*/ 640841 h 1349978"/>
              <a:gd name="connsiteX87" fmla="*/ 162878 w 1349978"/>
              <a:gd name="connsiteY87" fmla="*/ 640841 h 1349978"/>
              <a:gd name="connsiteX88" fmla="*/ 231077 w 1349978"/>
              <a:gd name="connsiteY88" fmla="*/ 529779 h 1349978"/>
              <a:gd name="connsiteX89" fmla="*/ 299086 w 1349978"/>
              <a:gd name="connsiteY89" fmla="*/ 378046 h 1349978"/>
              <a:gd name="connsiteX90" fmla="*/ 0 w 1349978"/>
              <a:gd name="connsiteY90" fmla="*/ 0 h 1349978"/>
              <a:gd name="connsiteX91" fmla="*/ 1349978 w 1349978"/>
              <a:gd name="connsiteY91" fmla="*/ 0 h 1349978"/>
              <a:gd name="connsiteX92" fmla="*/ 1349788 w 1349978"/>
              <a:gd name="connsiteY92" fmla="*/ 1349978 h 1349978"/>
              <a:gd name="connsiteX93" fmla="*/ 675037 w 1349978"/>
              <a:gd name="connsiteY93" fmla="*/ 1205389 h 1349978"/>
              <a:gd name="connsiteX94" fmla="*/ 0 w 1349978"/>
              <a:gd name="connsiteY94" fmla="*/ 1349978 h 1349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349978" h="1349978">
                <a:moveTo>
                  <a:pt x="1065181" y="378046"/>
                </a:moveTo>
                <a:cubicBezTo>
                  <a:pt x="1065181" y="378046"/>
                  <a:pt x="1029462" y="424814"/>
                  <a:pt x="1122807" y="529779"/>
                </a:cubicBezTo>
                <a:cubicBezTo>
                  <a:pt x="1122807" y="529779"/>
                  <a:pt x="1189006" y="607027"/>
                  <a:pt x="1190816" y="640841"/>
                </a:cubicBezTo>
                <a:lnTo>
                  <a:pt x="1152716" y="640841"/>
                </a:lnTo>
                <a:cubicBezTo>
                  <a:pt x="1097757" y="640841"/>
                  <a:pt x="1091851" y="576547"/>
                  <a:pt x="1091851" y="576547"/>
                </a:cubicBezTo>
                <a:lnTo>
                  <a:pt x="1060228" y="576547"/>
                </a:lnTo>
                <a:lnTo>
                  <a:pt x="1060228" y="671988"/>
                </a:lnTo>
                <a:lnTo>
                  <a:pt x="1287781" y="671988"/>
                </a:lnTo>
                <a:cubicBezTo>
                  <a:pt x="1287781" y="671988"/>
                  <a:pt x="1329119" y="627411"/>
                  <a:pt x="1226725" y="511777"/>
                </a:cubicBezTo>
                <a:cubicBezTo>
                  <a:pt x="1226725" y="511777"/>
                  <a:pt x="1173004" y="456627"/>
                  <a:pt x="1163289" y="408717"/>
                </a:cubicBezTo>
                <a:lnTo>
                  <a:pt x="1192054" y="408907"/>
                </a:lnTo>
                <a:lnTo>
                  <a:pt x="1192054" y="409002"/>
                </a:lnTo>
                <a:cubicBezTo>
                  <a:pt x="1255300" y="409002"/>
                  <a:pt x="1260444" y="473296"/>
                  <a:pt x="1260444" y="473296"/>
                </a:cubicBezTo>
                <a:lnTo>
                  <a:pt x="1290733" y="473296"/>
                </a:lnTo>
                <a:lnTo>
                  <a:pt x="1290733" y="378046"/>
                </a:lnTo>
                <a:close/>
                <a:moveTo>
                  <a:pt x="801053" y="378046"/>
                </a:moveTo>
                <a:cubicBezTo>
                  <a:pt x="801053" y="378046"/>
                  <a:pt x="765334" y="424814"/>
                  <a:pt x="858679" y="529779"/>
                </a:cubicBezTo>
                <a:cubicBezTo>
                  <a:pt x="858679" y="529779"/>
                  <a:pt x="924878" y="607027"/>
                  <a:pt x="926688" y="640841"/>
                </a:cubicBezTo>
                <a:lnTo>
                  <a:pt x="888588" y="640841"/>
                </a:lnTo>
                <a:cubicBezTo>
                  <a:pt x="833629" y="640841"/>
                  <a:pt x="827723" y="576547"/>
                  <a:pt x="827723" y="576547"/>
                </a:cubicBezTo>
                <a:lnTo>
                  <a:pt x="796100" y="576547"/>
                </a:lnTo>
                <a:lnTo>
                  <a:pt x="796100" y="671988"/>
                </a:lnTo>
                <a:lnTo>
                  <a:pt x="1023652" y="671988"/>
                </a:lnTo>
                <a:cubicBezTo>
                  <a:pt x="1023652" y="671988"/>
                  <a:pt x="1064991" y="627411"/>
                  <a:pt x="962597" y="511777"/>
                </a:cubicBezTo>
                <a:cubicBezTo>
                  <a:pt x="962597" y="511777"/>
                  <a:pt x="908876" y="456627"/>
                  <a:pt x="899161" y="408717"/>
                </a:cubicBezTo>
                <a:lnTo>
                  <a:pt x="927926" y="408907"/>
                </a:lnTo>
                <a:lnTo>
                  <a:pt x="927926" y="409002"/>
                </a:lnTo>
                <a:cubicBezTo>
                  <a:pt x="991363" y="409002"/>
                  <a:pt x="996316" y="473296"/>
                  <a:pt x="996316" y="473296"/>
                </a:cubicBezTo>
                <a:lnTo>
                  <a:pt x="1026891" y="473296"/>
                </a:lnTo>
                <a:lnTo>
                  <a:pt x="1026891" y="378046"/>
                </a:lnTo>
                <a:close/>
                <a:moveTo>
                  <a:pt x="606933" y="378046"/>
                </a:moveTo>
                <a:lnTo>
                  <a:pt x="606933" y="409193"/>
                </a:lnTo>
                <a:lnTo>
                  <a:pt x="614077" y="409193"/>
                </a:lnTo>
                <a:cubicBezTo>
                  <a:pt x="627316" y="409193"/>
                  <a:pt x="637889" y="419766"/>
                  <a:pt x="637889" y="432815"/>
                </a:cubicBezTo>
                <a:lnTo>
                  <a:pt x="637889" y="617028"/>
                </a:lnTo>
                <a:cubicBezTo>
                  <a:pt x="637889" y="629982"/>
                  <a:pt x="627316" y="640650"/>
                  <a:pt x="614077" y="640650"/>
                </a:cubicBezTo>
                <a:lnTo>
                  <a:pt x="606933" y="640650"/>
                </a:lnTo>
                <a:lnTo>
                  <a:pt x="606933" y="671797"/>
                </a:lnTo>
                <a:lnTo>
                  <a:pt x="763429" y="671797"/>
                </a:lnTo>
                <a:lnTo>
                  <a:pt x="763429" y="640650"/>
                </a:lnTo>
                <a:lnTo>
                  <a:pt x="756285" y="640650"/>
                </a:lnTo>
                <a:cubicBezTo>
                  <a:pt x="743331" y="640650"/>
                  <a:pt x="732663" y="629982"/>
                  <a:pt x="732663" y="617028"/>
                </a:cubicBezTo>
                <a:lnTo>
                  <a:pt x="732663" y="432815"/>
                </a:lnTo>
                <a:cubicBezTo>
                  <a:pt x="732663" y="419861"/>
                  <a:pt x="743236" y="409193"/>
                  <a:pt x="756285" y="409193"/>
                </a:cubicBezTo>
                <a:lnTo>
                  <a:pt x="763429" y="409193"/>
                </a:lnTo>
                <a:lnTo>
                  <a:pt x="763429" y="378046"/>
                </a:lnTo>
                <a:close/>
                <a:moveTo>
                  <a:pt x="325470" y="378046"/>
                </a:moveTo>
                <a:lnTo>
                  <a:pt x="325470" y="409383"/>
                </a:lnTo>
                <a:lnTo>
                  <a:pt x="332614" y="409383"/>
                </a:lnTo>
                <a:cubicBezTo>
                  <a:pt x="345568" y="409383"/>
                  <a:pt x="356236" y="420051"/>
                  <a:pt x="356236" y="433005"/>
                </a:cubicBezTo>
                <a:lnTo>
                  <a:pt x="356236" y="617219"/>
                </a:lnTo>
                <a:cubicBezTo>
                  <a:pt x="356236" y="630173"/>
                  <a:pt x="345663" y="640841"/>
                  <a:pt x="332614" y="640841"/>
                </a:cubicBezTo>
                <a:lnTo>
                  <a:pt x="325470" y="640841"/>
                </a:lnTo>
                <a:lnTo>
                  <a:pt x="325470" y="671988"/>
                </a:lnTo>
                <a:lnTo>
                  <a:pt x="574453" y="672178"/>
                </a:lnTo>
                <a:lnTo>
                  <a:pt x="574453" y="672083"/>
                </a:lnTo>
                <a:lnTo>
                  <a:pt x="574453" y="576642"/>
                </a:lnTo>
                <a:lnTo>
                  <a:pt x="542831" y="576642"/>
                </a:lnTo>
                <a:cubicBezTo>
                  <a:pt x="542831" y="576642"/>
                  <a:pt x="537020" y="640936"/>
                  <a:pt x="481966" y="640936"/>
                </a:cubicBezTo>
                <a:lnTo>
                  <a:pt x="450343" y="640936"/>
                </a:lnTo>
                <a:lnTo>
                  <a:pt x="450343" y="540733"/>
                </a:lnTo>
                <a:lnTo>
                  <a:pt x="461582" y="540733"/>
                </a:lnTo>
                <a:cubicBezTo>
                  <a:pt x="474822" y="540733"/>
                  <a:pt x="485395" y="551401"/>
                  <a:pt x="485395" y="564546"/>
                </a:cubicBezTo>
                <a:lnTo>
                  <a:pt x="485395" y="576452"/>
                </a:lnTo>
                <a:lnTo>
                  <a:pt x="516541" y="576452"/>
                </a:lnTo>
                <a:lnTo>
                  <a:pt x="516541" y="473677"/>
                </a:lnTo>
                <a:lnTo>
                  <a:pt x="485395" y="473677"/>
                </a:lnTo>
                <a:lnTo>
                  <a:pt x="485395" y="485583"/>
                </a:lnTo>
                <a:cubicBezTo>
                  <a:pt x="485395" y="498823"/>
                  <a:pt x="474822" y="509396"/>
                  <a:pt x="461582" y="509396"/>
                </a:cubicBezTo>
                <a:lnTo>
                  <a:pt x="450343" y="509396"/>
                </a:lnTo>
                <a:lnTo>
                  <a:pt x="450343" y="409193"/>
                </a:lnTo>
                <a:lnTo>
                  <a:pt x="481966" y="409193"/>
                </a:lnTo>
                <a:cubicBezTo>
                  <a:pt x="536925" y="409193"/>
                  <a:pt x="542831" y="473487"/>
                  <a:pt x="542831" y="473487"/>
                </a:cubicBezTo>
                <a:lnTo>
                  <a:pt x="574453" y="473487"/>
                </a:lnTo>
                <a:lnTo>
                  <a:pt x="574453" y="378046"/>
                </a:lnTo>
                <a:close/>
                <a:moveTo>
                  <a:pt x="62866" y="378046"/>
                </a:moveTo>
                <a:lnTo>
                  <a:pt x="62866" y="473296"/>
                </a:lnTo>
                <a:lnTo>
                  <a:pt x="93155" y="473296"/>
                </a:lnTo>
                <a:cubicBezTo>
                  <a:pt x="93155" y="473296"/>
                  <a:pt x="98299" y="409002"/>
                  <a:pt x="161735" y="409002"/>
                </a:cubicBezTo>
                <a:lnTo>
                  <a:pt x="161735" y="408907"/>
                </a:lnTo>
                <a:lnTo>
                  <a:pt x="190310" y="408717"/>
                </a:lnTo>
                <a:cubicBezTo>
                  <a:pt x="178404" y="454246"/>
                  <a:pt x="126874" y="511777"/>
                  <a:pt x="126874" y="511777"/>
                </a:cubicBezTo>
                <a:cubicBezTo>
                  <a:pt x="43149" y="599693"/>
                  <a:pt x="52007" y="671988"/>
                  <a:pt x="52007" y="671988"/>
                </a:cubicBezTo>
                <a:lnTo>
                  <a:pt x="293371" y="671988"/>
                </a:lnTo>
                <a:lnTo>
                  <a:pt x="293371" y="576547"/>
                </a:lnTo>
                <a:lnTo>
                  <a:pt x="261748" y="576547"/>
                </a:lnTo>
                <a:cubicBezTo>
                  <a:pt x="261748" y="576547"/>
                  <a:pt x="256128" y="640841"/>
                  <a:pt x="201169" y="640841"/>
                </a:cubicBezTo>
                <a:lnTo>
                  <a:pt x="162878" y="640841"/>
                </a:lnTo>
                <a:cubicBezTo>
                  <a:pt x="164593" y="607027"/>
                  <a:pt x="231077" y="529779"/>
                  <a:pt x="231077" y="529779"/>
                </a:cubicBezTo>
                <a:cubicBezTo>
                  <a:pt x="300991" y="451674"/>
                  <a:pt x="299086" y="378046"/>
                  <a:pt x="299086" y="378046"/>
                </a:cubicBezTo>
                <a:close/>
                <a:moveTo>
                  <a:pt x="0" y="0"/>
                </a:moveTo>
                <a:lnTo>
                  <a:pt x="1349978" y="0"/>
                </a:lnTo>
                <a:lnTo>
                  <a:pt x="1349788" y="1349978"/>
                </a:lnTo>
                <a:cubicBezTo>
                  <a:pt x="1143953" y="1257110"/>
                  <a:pt x="915543" y="1205389"/>
                  <a:pt x="675037" y="1205389"/>
                </a:cubicBezTo>
                <a:cubicBezTo>
                  <a:pt x="434530" y="1205389"/>
                  <a:pt x="205835" y="1257110"/>
                  <a:pt x="0" y="1349978"/>
                </a:cubicBezTo>
                <a:close/>
              </a:path>
            </a:pathLst>
          </a:custGeom>
          <a:solidFill>
            <a:srgbClr val="0F2DB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5721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|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1628776"/>
            <a:ext cx="8663775" cy="1962150"/>
          </a:xfrm>
        </p:spPr>
        <p:txBody>
          <a:bodyPr anchor="b" anchorCtr="0">
            <a:noAutofit/>
          </a:bodyPr>
          <a:lstStyle>
            <a:lvl1pPr>
              <a:lnSpc>
                <a:spcPts val="5000"/>
              </a:lnSpc>
              <a:defRPr sz="4500" b="0">
                <a:latin typeface="+mj-lt"/>
                <a:cs typeface="ZEISS Frutiger Next W1G Lt"/>
              </a:defRPr>
            </a:lvl1pPr>
          </a:lstStyle>
          <a:p>
            <a:r>
              <a:rPr lang="en-US" noProof="0"/>
              <a:t>Edit Master Cover Format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536C54-AD88-4971-B5AC-E8FD5A47527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18319" y="3849556"/>
            <a:ext cx="8663775" cy="1296124"/>
          </a:xfrm>
        </p:spPr>
        <p:txBody>
          <a:bodyPr wrap="square">
            <a:noAutofit/>
          </a:bodyPr>
          <a:lstStyle>
            <a:lvl1pPr>
              <a:lnSpc>
                <a:spcPct val="120000"/>
              </a:lnSpc>
              <a:spcAft>
                <a:spcPts val="0"/>
              </a:spcAft>
              <a:defRPr sz="2000">
                <a:solidFill>
                  <a:srgbClr val="0F2DB3"/>
                </a:solidFill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CDAB4CFE-07B3-4E55-9D90-97D0802B625E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300A9246-8173-41E6-B35E-71E183DE4E5C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E12700E9-0E4C-4897-99DD-2830E88815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Textfeld 62">
                <a:extLst>
                  <a:ext uri="{FF2B5EF4-FFF2-40B4-BE49-F238E27FC236}">
                    <a16:creationId xmlns:a16="http://schemas.microsoft.com/office/drawing/2014/main" id="{030ADEB2-5D3B-4E5B-A61D-BF59899841EE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36D9866E-22EA-4C01-935A-3E2C494266D0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0" name="Gerader Verbinder 59">
                <a:extLst>
                  <a:ext uri="{FF2B5EF4-FFF2-40B4-BE49-F238E27FC236}">
                    <a16:creationId xmlns:a16="http://schemas.microsoft.com/office/drawing/2014/main" id="{B6FF4BEA-4EAE-4C33-A13C-07FA25366D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Textfeld 60">
                <a:extLst>
                  <a:ext uri="{FF2B5EF4-FFF2-40B4-BE49-F238E27FC236}">
                    <a16:creationId xmlns:a16="http://schemas.microsoft.com/office/drawing/2014/main" id="{DA5D9D5D-EED8-4F7D-A8F8-28A0EE09DC9D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BA6FCF1E-4401-4C92-9074-C31193286809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C4B84965-068B-48C7-9591-12635653F3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D8C6785E-EC81-4CD6-B798-6B15988F7A1B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4D95A093-246B-475B-B5C1-DFCABC1167E3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7A903E37-A5CD-4C3B-80C7-CB464BC47B1A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6C64B1E1-B242-4FB0-A5FD-EB6A5CEE0F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811ADFC4-81F8-4735-AF8F-87B09E25133D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8680E5C6-D968-479F-8A26-E67B39E55BE2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45D73631-482A-4C31-94AF-E58363664F7A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E5C5EBE1-33E9-4380-A9E2-291659F4D95A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92</a:t>
                </a:r>
              </a:p>
            </p:txBody>
          </p:sp>
          <p:cxnSp>
            <p:nvCxnSpPr>
              <p:cNvPr id="83" name="Gerader Verbinder 82">
                <a:extLst>
                  <a:ext uri="{FF2B5EF4-FFF2-40B4-BE49-F238E27FC236}">
                    <a16:creationId xmlns:a16="http://schemas.microsoft.com/office/drawing/2014/main" id="{06D32C84-E0A8-4D85-B127-376F47B30D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9EA6B39C-54DF-46D5-B92B-AB93FF853F2D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092B48C7-7FA6-4EDA-9619-FAF4228117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36F518D9-4E09-41B7-825B-7FD22845B38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.40</a:t>
                </a:r>
              </a:p>
            </p:txBody>
          </p: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A65E0A08-EF39-4547-A13D-AA661D34D2CE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6EFA4495-871B-48F0-881F-C31ED9E4F8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B7880C48-3B57-4BA1-93AE-8CC6A203417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00</a:t>
                </a:r>
              </a:p>
            </p:txBody>
          </p:sp>
        </p:grpSp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C4FFEA28-BD76-44F1-9C33-3503C78E3F14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DCAB5C85-C009-49CB-8BB7-603D8BC25C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BE3516CE-8623-4F07-A5CA-0AA9E5623AFC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.60</a:t>
                </a:r>
              </a:p>
            </p:txBody>
          </p:sp>
        </p:grpSp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A39642A0-F468-4506-BF15-7321D129AE0F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4772045E-4767-4764-A77C-DCE115C29E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B7574531-AD32-4E06-AC64-6A1F78D95AF6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.00</a:t>
                </a:r>
              </a:p>
            </p:txBody>
          </p:sp>
        </p:grpSp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212A55DB-8C35-4E8A-B959-BE7C769F49BA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2E63BDCB-6A9F-426F-B4CD-DC50B15EAF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22A03284-1DBA-4AA8-816F-09D2A52A3815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70</a:t>
                </a:r>
              </a:p>
            </p:txBody>
          </p:sp>
        </p:grpSp>
      </p:grp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4BF14E4-CECD-DD63-E049-157D943CACA4}"/>
              </a:ext>
            </a:extLst>
          </p:cNvPr>
          <p:cNvSpPr/>
          <p:nvPr userDrawn="1"/>
        </p:nvSpPr>
        <p:spPr>
          <a:xfrm>
            <a:off x="11170444" y="299244"/>
            <a:ext cx="505399" cy="505399"/>
          </a:xfrm>
          <a:custGeom>
            <a:avLst/>
            <a:gdLst>
              <a:gd name="connsiteX0" fmla="*/ 1065181 w 1349978"/>
              <a:gd name="connsiteY0" fmla="*/ 378046 h 1349978"/>
              <a:gd name="connsiteX1" fmla="*/ 1122807 w 1349978"/>
              <a:gd name="connsiteY1" fmla="*/ 529779 h 1349978"/>
              <a:gd name="connsiteX2" fmla="*/ 1190816 w 1349978"/>
              <a:gd name="connsiteY2" fmla="*/ 640841 h 1349978"/>
              <a:gd name="connsiteX3" fmla="*/ 1152716 w 1349978"/>
              <a:gd name="connsiteY3" fmla="*/ 640841 h 1349978"/>
              <a:gd name="connsiteX4" fmla="*/ 1091851 w 1349978"/>
              <a:gd name="connsiteY4" fmla="*/ 576547 h 1349978"/>
              <a:gd name="connsiteX5" fmla="*/ 1060228 w 1349978"/>
              <a:gd name="connsiteY5" fmla="*/ 576547 h 1349978"/>
              <a:gd name="connsiteX6" fmla="*/ 1060228 w 1349978"/>
              <a:gd name="connsiteY6" fmla="*/ 671988 h 1349978"/>
              <a:gd name="connsiteX7" fmla="*/ 1287781 w 1349978"/>
              <a:gd name="connsiteY7" fmla="*/ 671988 h 1349978"/>
              <a:gd name="connsiteX8" fmla="*/ 1226725 w 1349978"/>
              <a:gd name="connsiteY8" fmla="*/ 511777 h 1349978"/>
              <a:gd name="connsiteX9" fmla="*/ 1163289 w 1349978"/>
              <a:gd name="connsiteY9" fmla="*/ 408717 h 1349978"/>
              <a:gd name="connsiteX10" fmla="*/ 1192054 w 1349978"/>
              <a:gd name="connsiteY10" fmla="*/ 408907 h 1349978"/>
              <a:gd name="connsiteX11" fmla="*/ 1192054 w 1349978"/>
              <a:gd name="connsiteY11" fmla="*/ 409002 h 1349978"/>
              <a:gd name="connsiteX12" fmla="*/ 1260444 w 1349978"/>
              <a:gd name="connsiteY12" fmla="*/ 473296 h 1349978"/>
              <a:gd name="connsiteX13" fmla="*/ 1290733 w 1349978"/>
              <a:gd name="connsiteY13" fmla="*/ 473296 h 1349978"/>
              <a:gd name="connsiteX14" fmla="*/ 1290733 w 1349978"/>
              <a:gd name="connsiteY14" fmla="*/ 378046 h 1349978"/>
              <a:gd name="connsiteX15" fmla="*/ 801053 w 1349978"/>
              <a:gd name="connsiteY15" fmla="*/ 378046 h 1349978"/>
              <a:gd name="connsiteX16" fmla="*/ 858679 w 1349978"/>
              <a:gd name="connsiteY16" fmla="*/ 529779 h 1349978"/>
              <a:gd name="connsiteX17" fmla="*/ 926688 w 1349978"/>
              <a:gd name="connsiteY17" fmla="*/ 640841 h 1349978"/>
              <a:gd name="connsiteX18" fmla="*/ 888588 w 1349978"/>
              <a:gd name="connsiteY18" fmla="*/ 640841 h 1349978"/>
              <a:gd name="connsiteX19" fmla="*/ 827723 w 1349978"/>
              <a:gd name="connsiteY19" fmla="*/ 576547 h 1349978"/>
              <a:gd name="connsiteX20" fmla="*/ 796100 w 1349978"/>
              <a:gd name="connsiteY20" fmla="*/ 576547 h 1349978"/>
              <a:gd name="connsiteX21" fmla="*/ 796100 w 1349978"/>
              <a:gd name="connsiteY21" fmla="*/ 671988 h 1349978"/>
              <a:gd name="connsiteX22" fmla="*/ 1023652 w 1349978"/>
              <a:gd name="connsiteY22" fmla="*/ 671988 h 1349978"/>
              <a:gd name="connsiteX23" fmla="*/ 962597 w 1349978"/>
              <a:gd name="connsiteY23" fmla="*/ 511777 h 1349978"/>
              <a:gd name="connsiteX24" fmla="*/ 899161 w 1349978"/>
              <a:gd name="connsiteY24" fmla="*/ 408717 h 1349978"/>
              <a:gd name="connsiteX25" fmla="*/ 927926 w 1349978"/>
              <a:gd name="connsiteY25" fmla="*/ 408907 h 1349978"/>
              <a:gd name="connsiteX26" fmla="*/ 927926 w 1349978"/>
              <a:gd name="connsiteY26" fmla="*/ 409002 h 1349978"/>
              <a:gd name="connsiteX27" fmla="*/ 996316 w 1349978"/>
              <a:gd name="connsiteY27" fmla="*/ 473296 h 1349978"/>
              <a:gd name="connsiteX28" fmla="*/ 1026891 w 1349978"/>
              <a:gd name="connsiteY28" fmla="*/ 473296 h 1349978"/>
              <a:gd name="connsiteX29" fmla="*/ 1026891 w 1349978"/>
              <a:gd name="connsiteY29" fmla="*/ 378046 h 1349978"/>
              <a:gd name="connsiteX30" fmla="*/ 606933 w 1349978"/>
              <a:gd name="connsiteY30" fmla="*/ 378046 h 1349978"/>
              <a:gd name="connsiteX31" fmla="*/ 606933 w 1349978"/>
              <a:gd name="connsiteY31" fmla="*/ 409193 h 1349978"/>
              <a:gd name="connsiteX32" fmla="*/ 614077 w 1349978"/>
              <a:gd name="connsiteY32" fmla="*/ 409193 h 1349978"/>
              <a:gd name="connsiteX33" fmla="*/ 637889 w 1349978"/>
              <a:gd name="connsiteY33" fmla="*/ 432815 h 1349978"/>
              <a:gd name="connsiteX34" fmla="*/ 637889 w 1349978"/>
              <a:gd name="connsiteY34" fmla="*/ 617028 h 1349978"/>
              <a:gd name="connsiteX35" fmla="*/ 614077 w 1349978"/>
              <a:gd name="connsiteY35" fmla="*/ 640650 h 1349978"/>
              <a:gd name="connsiteX36" fmla="*/ 606933 w 1349978"/>
              <a:gd name="connsiteY36" fmla="*/ 640650 h 1349978"/>
              <a:gd name="connsiteX37" fmla="*/ 606933 w 1349978"/>
              <a:gd name="connsiteY37" fmla="*/ 671797 h 1349978"/>
              <a:gd name="connsiteX38" fmla="*/ 763429 w 1349978"/>
              <a:gd name="connsiteY38" fmla="*/ 671797 h 1349978"/>
              <a:gd name="connsiteX39" fmla="*/ 763429 w 1349978"/>
              <a:gd name="connsiteY39" fmla="*/ 640650 h 1349978"/>
              <a:gd name="connsiteX40" fmla="*/ 756285 w 1349978"/>
              <a:gd name="connsiteY40" fmla="*/ 640650 h 1349978"/>
              <a:gd name="connsiteX41" fmla="*/ 732663 w 1349978"/>
              <a:gd name="connsiteY41" fmla="*/ 617028 h 1349978"/>
              <a:gd name="connsiteX42" fmla="*/ 732663 w 1349978"/>
              <a:gd name="connsiteY42" fmla="*/ 432815 h 1349978"/>
              <a:gd name="connsiteX43" fmla="*/ 756285 w 1349978"/>
              <a:gd name="connsiteY43" fmla="*/ 409193 h 1349978"/>
              <a:gd name="connsiteX44" fmla="*/ 763429 w 1349978"/>
              <a:gd name="connsiteY44" fmla="*/ 409193 h 1349978"/>
              <a:gd name="connsiteX45" fmla="*/ 763429 w 1349978"/>
              <a:gd name="connsiteY45" fmla="*/ 378046 h 1349978"/>
              <a:gd name="connsiteX46" fmla="*/ 325470 w 1349978"/>
              <a:gd name="connsiteY46" fmla="*/ 378046 h 1349978"/>
              <a:gd name="connsiteX47" fmla="*/ 325470 w 1349978"/>
              <a:gd name="connsiteY47" fmla="*/ 409383 h 1349978"/>
              <a:gd name="connsiteX48" fmla="*/ 332614 w 1349978"/>
              <a:gd name="connsiteY48" fmla="*/ 409383 h 1349978"/>
              <a:gd name="connsiteX49" fmla="*/ 356236 w 1349978"/>
              <a:gd name="connsiteY49" fmla="*/ 433005 h 1349978"/>
              <a:gd name="connsiteX50" fmla="*/ 356236 w 1349978"/>
              <a:gd name="connsiteY50" fmla="*/ 617219 h 1349978"/>
              <a:gd name="connsiteX51" fmla="*/ 332614 w 1349978"/>
              <a:gd name="connsiteY51" fmla="*/ 640841 h 1349978"/>
              <a:gd name="connsiteX52" fmla="*/ 325470 w 1349978"/>
              <a:gd name="connsiteY52" fmla="*/ 640841 h 1349978"/>
              <a:gd name="connsiteX53" fmla="*/ 325470 w 1349978"/>
              <a:gd name="connsiteY53" fmla="*/ 671988 h 1349978"/>
              <a:gd name="connsiteX54" fmla="*/ 574453 w 1349978"/>
              <a:gd name="connsiteY54" fmla="*/ 672178 h 1349978"/>
              <a:gd name="connsiteX55" fmla="*/ 574453 w 1349978"/>
              <a:gd name="connsiteY55" fmla="*/ 672083 h 1349978"/>
              <a:gd name="connsiteX56" fmla="*/ 574453 w 1349978"/>
              <a:gd name="connsiteY56" fmla="*/ 576642 h 1349978"/>
              <a:gd name="connsiteX57" fmla="*/ 542831 w 1349978"/>
              <a:gd name="connsiteY57" fmla="*/ 576642 h 1349978"/>
              <a:gd name="connsiteX58" fmla="*/ 481966 w 1349978"/>
              <a:gd name="connsiteY58" fmla="*/ 640936 h 1349978"/>
              <a:gd name="connsiteX59" fmla="*/ 450343 w 1349978"/>
              <a:gd name="connsiteY59" fmla="*/ 640936 h 1349978"/>
              <a:gd name="connsiteX60" fmla="*/ 450343 w 1349978"/>
              <a:gd name="connsiteY60" fmla="*/ 540733 h 1349978"/>
              <a:gd name="connsiteX61" fmla="*/ 461582 w 1349978"/>
              <a:gd name="connsiteY61" fmla="*/ 540733 h 1349978"/>
              <a:gd name="connsiteX62" fmla="*/ 485395 w 1349978"/>
              <a:gd name="connsiteY62" fmla="*/ 564546 h 1349978"/>
              <a:gd name="connsiteX63" fmla="*/ 485395 w 1349978"/>
              <a:gd name="connsiteY63" fmla="*/ 576452 h 1349978"/>
              <a:gd name="connsiteX64" fmla="*/ 516541 w 1349978"/>
              <a:gd name="connsiteY64" fmla="*/ 576452 h 1349978"/>
              <a:gd name="connsiteX65" fmla="*/ 516541 w 1349978"/>
              <a:gd name="connsiteY65" fmla="*/ 473677 h 1349978"/>
              <a:gd name="connsiteX66" fmla="*/ 485395 w 1349978"/>
              <a:gd name="connsiteY66" fmla="*/ 473677 h 1349978"/>
              <a:gd name="connsiteX67" fmla="*/ 485395 w 1349978"/>
              <a:gd name="connsiteY67" fmla="*/ 485583 h 1349978"/>
              <a:gd name="connsiteX68" fmla="*/ 461582 w 1349978"/>
              <a:gd name="connsiteY68" fmla="*/ 509396 h 1349978"/>
              <a:gd name="connsiteX69" fmla="*/ 450343 w 1349978"/>
              <a:gd name="connsiteY69" fmla="*/ 509396 h 1349978"/>
              <a:gd name="connsiteX70" fmla="*/ 450343 w 1349978"/>
              <a:gd name="connsiteY70" fmla="*/ 409193 h 1349978"/>
              <a:gd name="connsiteX71" fmla="*/ 481966 w 1349978"/>
              <a:gd name="connsiteY71" fmla="*/ 409193 h 1349978"/>
              <a:gd name="connsiteX72" fmla="*/ 542831 w 1349978"/>
              <a:gd name="connsiteY72" fmla="*/ 473487 h 1349978"/>
              <a:gd name="connsiteX73" fmla="*/ 574453 w 1349978"/>
              <a:gd name="connsiteY73" fmla="*/ 473487 h 1349978"/>
              <a:gd name="connsiteX74" fmla="*/ 574453 w 1349978"/>
              <a:gd name="connsiteY74" fmla="*/ 378046 h 1349978"/>
              <a:gd name="connsiteX75" fmla="*/ 62866 w 1349978"/>
              <a:gd name="connsiteY75" fmla="*/ 378046 h 1349978"/>
              <a:gd name="connsiteX76" fmla="*/ 62866 w 1349978"/>
              <a:gd name="connsiteY76" fmla="*/ 473296 h 1349978"/>
              <a:gd name="connsiteX77" fmla="*/ 93155 w 1349978"/>
              <a:gd name="connsiteY77" fmla="*/ 473296 h 1349978"/>
              <a:gd name="connsiteX78" fmla="*/ 161735 w 1349978"/>
              <a:gd name="connsiteY78" fmla="*/ 409002 h 1349978"/>
              <a:gd name="connsiteX79" fmla="*/ 161735 w 1349978"/>
              <a:gd name="connsiteY79" fmla="*/ 408907 h 1349978"/>
              <a:gd name="connsiteX80" fmla="*/ 190310 w 1349978"/>
              <a:gd name="connsiteY80" fmla="*/ 408717 h 1349978"/>
              <a:gd name="connsiteX81" fmla="*/ 126874 w 1349978"/>
              <a:gd name="connsiteY81" fmla="*/ 511777 h 1349978"/>
              <a:gd name="connsiteX82" fmla="*/ 52007 w 1349978"/>
              <a:gd name="connsiteY82" fmla="*/ 671988 h 1349978"/>
              <a:gd name="connsiteX83" fmla="*/ 293371 w 1349978"/>
              <a:gd name="connsiteY83" fmla="*/ 671988 h 1349978"/>
              <a:gd name="connsiteX84" fmla="*/ 293371 w 1349978"/>
              <a:gd name="connsiteY84" fmla="*/ 576547 h 1349978"/>
              <a:gd name="connsiteX85" fmla="*/ 261748 w 1349978"/>
              <a:gd name="connsiteY85" fmla="*/ 576547 h 1349978"/>
              <a:gd name="connsiteX86" fmla="*/ 201169 w 1349978"/>
              <a:gd name="connsiteY86" fmla="*/ 640841 h 1349978"/>
              <a:gd name="connsiteX87" fmla="*/ 162878 w 1349978"/>
              <a:gd name="connsiteY87" fmla="*/ 640841 h 1349978"/>
              <a:gd name="connsiteX88" fmla="*/ 231077 w 1349978"/>
              <a:gd name="connsiteY88" fmla="*/ 529779 h 1349978"/>
              <a:gd name="connsiteX89" fmla="*/ 299086 w 1349978"/>
              <a:gd name="connsiteY89" fmla="*/ 378046 h 1349978"/>
              <a:gd name="connsiteX90" fmla="*/ 0 w 1349978"/>
              <a:gd name="connsiteY90" fmla="*/ 0 h 1349978"/>
              <a:gd name="connsiteX91" fmla="*/ 1349978 w 1349978"/>
              <a:gd name="connsiteY91" fmla="*/ 0 h 1349978"/>
              <a:gd name="connsiteX92" fmla="*/ 1349788 w 1349978"/>
              <a:gd name="connsiteY92" fmla="*/ 1349978 h 1349978"/>
              <a:gd name="connsiteX93" fmla="*/ 675037 w 1349978"/>
              <a:gd name="connsiteY93" fmla="*/ 1205389 h 1349978"/>
              <a:gd name="connsiteX94" fmla="*/ 0 w 1349978"/>
              <a:gd name="connsiteY94" fmla="*/ 1349978 h 1349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349978" h="1349978">
                <a:moveTo>
                  <a:pt x="1065181" y="378046"/>
                </a:moveTo>
                <a:cubicBezTo>
                  <a:pt x="1065181" y="378046"/>
                  <a:pt x="1029462" y="424814"/>
                  <a:pt x="1122807" y="529779"/>
                </a:cubicBezTo>
                <a:cubicBezTo>
                  <a:pt x="1122807" y="529779"/>
                  <a:pt x="1189006" y="607027"/>
                  <a:pt x="1190816" y="640841"/>
                </a:cubicBezTo>
                <a:lnTo>
                  <a:pt x="1152716" y="640841"/>
                </a:lnTo>
                <a:cubicBezTo>
                  <a:pt x="1097757" y="640841"/>
                  <a:pt x="1091851" y="576547"/>
                  <a:pt x="1091851" y="576547"/>
                </a:cubicBezTo>
                <a:lnTo>
                  <a:pt x="1060228" y="576547"/>
                </a:lnTo>
                <a:lnTo>
                  <a:pt x="1060228" y="671988"/>
                </a:lnTo>
                <a:lnTo>
                  <a:pt x="1287781" y="671988"/>
                </a:lnTo>
                <a:cubicBezTo>
                  <a:pt x="1287781" y="671988"/>
                  <a:pt x="1329119" y="627411"/>
                  <a:pt x="1226725" y="511777"/>
                </a:cubicBezTo>
                <a:cubicBezTo>
                  <a:pt x="1226725" y="511777"/>
                  <a:pt x="1173004" y="456627"/>
                  <a:pt x="1163289" y="408717"/>
                </a:cubicBezTo>
                <a:lnTo>
                  <a:pt x="1192054" y="408907"/>
                </a:lnTo>
                <a:lnTo>
                  <a:pt x="1192054" y="409002"/>
                </a:lnTo>
                <a:cubicBezTo>
                  <a:pt x="1255300" y="409002"/>
                  <a:pt x="1260444" y="473296"/>
                  <a:pt x="1260444" y="473296"/>
                </a:cubicBezTo>
                <a:lnTo>
                  <a:pt x="1290733" y="473296"/>
                </a:lnTo>
                <a:lnTo>
                  <a:pt x="1290733" y="378046"/>
                </a:lnTo>
                <a:close/>
                <a:moveTo>
                  <a:pt x="801053" y="378046"/>
                </a:moveTo>
                <a:cubicBezTo>
                  <a:pt x="801053" y="378046"/>
                  <a:pt x="765334" y="424814"/>
                  <a:pt x="858679" y="529779"/>
                </a:cubicBezTo>
                <a:cubicBezTo>
                  <a:pt x="858679" y="529779"/>
                  <a:pt x="924878" y="607027"/>
                  <a:pt x="926688" y="640841"/>
                </a:cubicBezTo>
                <a:lnTo>
                  <a:pt x="888588" y="640841"/>
                </a:lnTo>
                <a:cubicBezTo>
                  <a:pt x="833629" y="640841"/>
                  <a:pt x="827723" y="576547"/>
                  <a:pt x="827723" y="576547"/>
                </a:cubicBezTo>
                <a:lnTo>
                  <a:pt x="796100" y="576547"/>
                </a:lnTo>
                <a:lnTo>
                  <a:pt x="796100" y="671988"/>
                </a:lnTo>
                <a:lnTo>
                  <a:pt x="1023652" y="671988"/>
                </a:lnTo>
                <a:cubicBezTo>
                  <a:pt x="1023652" y="671988"/>
                  <a:pt x="1064991" y="627411"/>
                  <a:pt x="962597" y="511777"/>
                </a:cubicBezTo>
                <a:cubicBezTo>
                  <a:pt x="962597" y="511777"/>
                  <a:pt x="908876" y="456627"/>
                  <a:pt x="899161" y="408717"/>
                </a:cubicBezTo>
                <a:lnTo>
                  <a:pt x="927926" y="408907"/>
                </a:lnTo>
                <a:lnTo>
                  <a:pt x="927926" y="409002"/>
                </a:lnTo>
                <a:cubicBezTo>
                  <a:pt x="991363" y="409002"/>
                  <a:pt x="996316" y="473296"/>
                  <a:pt x="996316" y="473296"/>
                </a:cubicBezTo>
                <a:lnTo>
                  <a:pt x="1026891" y="473296"/>
                </a:lnTo>
                <a:lnTo>
                  <a:pt x="1026891" y="378046"/>
                </a:lnTo>
                <a:close/>
                <a:moveTo>
                  <a:pt x="606933" y="378046"/>
                </a:moveTo>
                <a:lnTo>
                  <a:pt x="606933" y="409193"/>
                </a:lnTo>
                <a:lnTo>
                  <a:pt x="614077" y="409193"/>
                </a:lnTo>
                <a:cubicBezTo>
                  <a:pt x="627316" y="409193"/>
                  <a:pt x="637889" y="419766"/>
                  <a:pt x="637889" y="432815"/>
                </a:cubicBezTo>
                <a:lnTo>
                  <a:pt x="637889" y="617028"/>
                </a:lnTo>
                <a:cubicBezTo>
                  <a:pt x="637889" y="629982"/>
                  <a:pt x="627316" y="640650"/>
                  <a:pt x="614077" y="640650"/>
                </a:cubicBezTo>
                <a:lnTo>
                  <a:pt x="606933" y="640650"/>
                </a:lnTo>
                <a:lnTo>
                  <a:pt x="606933" y="671797"/>
                </a:lnTo>
                <a:lnTo>
                  <a:pt x="763429" y="671797"/>
                </a:lnTo>
                <a:lnTo>
                  <a:pt x="763429" y="640650"/>
                </a:lnTo>
                <a:lnTo>
                  <a:pt x="756285" y="640650"/>
                </a:lnTo>
                <a:cubicBezTo>
                  <a:pt x="743331" y="640650"/>
                  <a:pt x="732663" y="629982"/>
                  <a:pt x="732663" y="617028"/>
                </a:cubicBezTo>
                <a:lnTo>
                  <a:pt x="732663" y="432815"/>
                </a:lnTo>
                <a:cubicBezTo>
                  <a:pt x="732663" y="419861"/>
                  <a:pt x="743236" y="409193"/>
                  <a:pt x="756285" y="409193"/>
                </a:cubicBezTo>
                <a:lnTo>
                  <a:pt x="763429" y="409193"/>
                </a:lnTo>
                <a:lnTo>
                  <a:pt x="763429" y="378046"/>
                </a:lnTo>
                <a:close/>
                <a:moveTo>
                  <a:pt x="325470" y="378046"/>
                </a:moveTo>
                <a:lnTo>
                  <a:pt x="325470" y="409383"/>
                </a:lnTo>
                <a:lnTo>
                  <a:pt x="332614" y="409383"/>
                </a:lnTo>
                <a:cubicBezTo>
                  <a:pt x="345568" y="409383"/>
                  <a:pt x="356236" y="420051"/>
                  <a:pt x="356236" y="433005"/>
                </a:cubicBezTo>
                <a:lnTo>
                  <a:pt x="356236" y="617219"/>
                </a:lnTo>
                <a:cubicBezTo>
                  <a:pt x="356236" y="630173"/>
                  <a:pt x="345663" y="640841"/>
                  <a:pt x="332614" y="640841"/>
                </a:cubicBezTo>
                <a:lnTo>
                  <a:pt x="325470" y="640841"/>
                </a:lnTo>
                <a:lnTo>
                  <a:pt x="325470" y="671988"/>
                </a:lnTo>
                <a:lnTo>
                  <a:pt x="574453" y="672178"/>
                </a:lnTo>
                <a:lnTo>
                  <a:pt x="574453" y="672083"/>
                </a:lnTo>
                <a:lnTo>
                  <a:pt x="574453" y="576642"/>
                </a:lnTo>
                <a:lnTo>
                  <a:pt x="542831" y="576642"/>
                </a:lnTo>
                <a:cubicBezTo>
                  <a:pt x="542831" y="576642"/>
                  <a:pt x="537020" y="640936"/>
                  <a:pt x="481966" y="640936"/>
                </a:cubicBezTo>
                <a:lnTo>
                  <a:pt x="450343" y="640936"/>
                </a:lnTo>
                <a:lnTo>
                  <a:pt x="450343" y="540733"/>
                </a:lnTo>
                <a:lnTo>
                  <a:pt x="461582" y="540733"/>
                </a:lnTo>
                <a:cubicBezTo>
                  <a:pt x="474822" y="540733"/>
                  <a:pt x="485395" y="551401"/>
                  <a:pt x="485395" y="564546"/>
                </a:cubicBezTo>
                <a:lnTo>
                  <a:pt x="485395" y="576452"/>
                </a:lnTo>
                <a:lnTo>
                  <a:pt x="516541" y="576452"/>
                </a:lnTo>
                <a:lnTo>
                  <a:pt x="516541" y="473677"/>
                </a:lnTo>
                <a:lnTo>
                  <a:pt x="485395" y="473677"/>
                </a:lnTo>
                <a:lnTo>
                  <a:pt x="485395" y="485583"/>
                </a:lnTo>
                <a:cubicBezTo>
                  <a:pt x="485395" y="498823"/>
                  <a:pt x="474822" y="509396"/>
                  <a:pt x="461582" y="509396"/>
                </a:cubicBezTo>
                <a:lnTo>
                  <a:pt x="450343" y="509396"/>
                </a:lnTo>
                <a:lnTo>
                  <a:pt x="450343" y="409193"/>
                </a:lnTo>
                <a:lnTo>
                  <a:pt x="481966" y="409193"/>
                </a:lnTo>
                <a:cubicBezTo>
                  <a:pt x="536925" y="409193"/>
                  <a:pt x="542831" y="473487"/>
                  <a:pt x="542831" y="473487"/>
                </a:cubicBezTo>
                <a:lnTo>
                  <a:pt x="574453" y="473487"/>
                </a:lnTo>
                <a:lnTo>
                  <a:pt x="574453" y="378046"/>
                </a:lnTo>
                <a:close/>
                <a:moveTo>
                  <a:pt x="62866" y="378046"/>
                </a:moveTo>
                <a:lnTo>
                  <a:pt x="62866" y="473296"/>
                </a:lnTo>
                <a:lnTo>
                  <a:pt x="93155" y="473296"/>
                </a:lnTo>
                <a:cubicBezTo>
                  <a:pt x="93155" y="473296"/>
                  <a:pt x="98299" y="409002"/>
                  <a:pt x="161735" y="409002"/>
                </a:cubicBezTo>
                <a:lnTo>
                  <a:pt x="161735" y="408907"/>
                </a:lnTo>
                <a:lnTo>
                  <a:pt x="190310" y="408717"/>
                </a:lnTo>
                <a:cubicBezTo>
                  <a:pt x="178404" y="454246"/>
                  <a:pt x="126874" y="511777"/>
                  <a:pt x="126874" y="511777"/>
                </a:cubicBezTo>
                <a:cubicBezTo>
                  <a:pt x="43149" y="599693"/>
                  <a:pt x="52007" y="671988"/>
                  <a:pt x="52007" y="671988"/>
                </a:cubicBezTo>
                <a:lnTo>
                  <a:pt x="293371" y="671988"/>
                </a:lnTo>
                <a:lnTo>
                  <a:pt x="293371" y="576547"/>
                </a:lnTo>
                <a:lnTo>
                  <a:pt x="261748" y="576547"/>
                </a:lnTo>
                <a:cubicBezTo>
                  <a:pt x="261748" y="576547"/>
                  <a:pt x="256128" y="640841"/>
                  <a:pt x="201169" y="640841"/>
                </a:cubicBezTo>
                <a:lnTo>
                  <a:pt x="162878" y="640841"/>
                </a:lnTo>
                <a:cubicBezTo>
                  <a:pt x="164593" y="607027"/>
                  <a:pt x="231077" y="529779"/>
                  <a:pt x="231077" y="529779"/>
                </a:cubicBezTo>
                <a:cubicBezTo>
                  <a:pt x="300991" y="451674"/>
                  <a:pt x="299086" y="378046"/>
                  <a:pt x="299086" y="378046"/>
                </a:cubicBezTo>
                <a:close/>
                <a:moveTo>
                  <a:pt x="0" y="0"/>
                </a:moveTo>
                <a:lnTo>
                  <a:pt x="1349978" y="0"/>
                </a:lnTo>
                <a:lnTo>
                  <a:pt x="1349788" y="1349978"/>
                </a:lnTo>
                <a:cubicBezTo>
                  <a:pt x="1143953" y="1257110"/>
                  <a:pt x="915543" y="1205389"/>
                  <a:pt x="675037" y="1205389"/>
                </a:cubicBezTo>
                <a:cubicBezTo>
                  <a:pt x="434530" y="1205389"/>
                  <a:pt x="205835" y="1257110"/>
                  <a:pt x="0" y="1349978"/>
                </a:cubicBezTo>
                <a:close/>
              </a:path>
            </a:pathLst>
          </a:custGeom>
          <a:solidFill>
            <a:srgbClr val="0F2DB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86730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DF64D8-43C9-4659-8FEB-D25E62DE231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21D1B0B-1BA8-4136-AF7B-59A487C42E1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18319" y="1631837"/>
            <a:ext cx="11160000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59A91B9-C866-4D14-BE8D-ECE3629E055C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849454A0-EBCC-4CD8-85B9-290E4583EC11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9BCA08E-EC06-4059-B57E-AEBF48C0753B}"/>
              </a:ext>
            </a:extLst>
          </p:cNvPr>
          <p:cNvSpPr>
            <a:spLocks noGrp="1"/>
          </p:cNvSpPr>
          <p:nvPr>
            <p:ph type="ftr" sz="quarter" idx="65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E2FBEAC-E12A-4FD2-82BC-22D265835091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5020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s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62F79FD-685F-4AD0-AD07-F82DCA60004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12A02888-F9A5-43B4-9619-58072584F51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319" y="1631837"/>
            <a:ext cx="5433219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D03185D6-5C86-4FFC-9297-944DDAF3BE36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42844" y="1631837"/>
            <a:ext cx="5433219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E6EBE84-2FE1-4C8A-9B0A-2A02FC98AA96}"/>
              </a:ext>
            </a:extLst>
          </p:cNvPr>
          <p:cNvSpPr>
            <a:spLocks noGrp="1"/>
          </p:cNvSpPr>
          <p:nvPr>
            <p:ph type="dt" sz="half" idx="66"/>
          </p:nvPr>
        </p:nvSpPr>
        <p:spPr/>
        <p:txBody>
          <a:bodyPr/>
          <a:lstStyle/>
          <a:p>
            <a:fld id="{4BF4D44E-72A9-4B22-84FA-1066D77100C2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4FDAE19-A17E-45B7-B64A-89511644E918}"/>
              </a:ext>
            </a:extLst>
          </p:cNvPr>
          <p:cNvSpPr>
            <a:spLocks noGrp="1"/>
          </p:cNvSpPr>
          <p:nvPr>
            <p:ph type="ftr" sz="quarter" idx="67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ABDFF1-A98D-4590-8B67-160900C002CB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0751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5DF379B-2F7B-4B88-BC16-FA39CEB2C3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Edit Master Cover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FF28EB-5BBB-48FC-BE84-2AF18E9A2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5"/>
            <a:ext cx="11160000" cy="44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Edit master text forma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9AF8200-DF6F-4A4E-B92D-A281BB9406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41682" y="6687622"/>
            <a:ext cx="777457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  <a:cs typeface="ZEISS Frutiger Next W1G Lt"/>
              </a:defRPr>
            </a:lvl1pPr>
          </a:lstStyle>
          <a:p>
            <a:fld id="{B979DD83-AEE0-4FA5-8171-5BF868B81636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62C304D-CE9F-43FC-BAA7-AE9B393990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87622"/>
            <a:ext cx="389234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0">
                <a:solidFill>
                  <a:schemeClr val="tx1"/>
                </a:solidFill>
                <a:latin typeface="+mn-lt"/>
                <a:cs typeface="ZEISS Frutiger Next W1G Medium"/>
              </a:defRPr>
            </a:lvl1pPr>
          </a:lstStyle>
          <a:p>
            <a:r>
              <a:rPr lang="en-US" noProof="0" dirty="0"/>
              <a:t>ZEIS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2475B2-8926-4797-977A-DAFF5A6E3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1717" y="6687622"/>
            <a:ext cx="184346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ZEISS Frutiger Next W1G Lt"/>
              </a:defRPr>
            </a:lvl1pPr>
          </a:lstStyle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55" name="Gerade Verbindung 68">
            <a:extLst>
              <a:ext uri="{FF2B5EF4-FFF2-40B4-BE49-F238E27FC236}">
                <a16:creationId xmlns:a16="http://schemas.microsoft.com/office/drawing/2014/main" id="{4DEBE7C2-DE8D-4DCC-AFDE-C6BA57C891B0}"/>
              </a:ext>
            </a:extLst>
          </p:cNvPr>
          <p:cNvCxnSpPr>
            <a:cxnSpLocks/>
          </p:cNvCxnSpPr>
          <p:nvPr userDrawn="1"/>
        </p:nvCxnSpPr>
        <p:spPr>
          <a:xfrm>
            <a:off x="0" y="6641854"/>
            <a:ext cx="12192000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56C48ABB-BA50-4097-908E-FFB7EAD39F4B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EFF5078C-FBC7-4E8E-A598-D1BB0815DC62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98C79FAB-AF18-4382-B91F-09656AE893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70142E60-8658-4FEF-9907-69CF841786A3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D7869B50-48E3-401F-B78F-FD1148A050CE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FB1EF0FA-D34A-4175-B65D-B7D6CC9719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2F56FBC7-9F7F-4AB4-8693-7CC09BA3D280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19703CF7-5E39-4192-B4A3-B38559E0FCBB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A8A4A3CB-D5F7-4A19-B224-2A426F6AA1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6CC430D5-BB00-4533-B856-9B221C831F80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B3ED1DB-EA3B-481C-AE7B-B4C922752B6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1110E2D8-35E2-4911-90BB-0A1E1F09A868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DED3DF7D-712B-495D-89D3-D93B7909A8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feld 51">
                <a:extLst>
                  <a:ext uri="{FF2B5EF4-FFF2-40B4-BE49-F238E27FC236}">
                    <a16:creationId xmlns:a16="http://schemas.microsoft.com/office/drawing/2014/main" id="{90B2A73D-A4A8-494D-80B5-C7EF22F4B6E3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45CCA136-3A71-44B3-80EC-6266A492E5C1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12E8AFB-85D2-45A9-B3EF-D12EC6390E09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F8C212DB-196A-4D74-82BE-00609BD65965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92</a:t>
                </a:r>
              </a:p>
            </p:txBody>
          </p:sp>
          <p:cxnSp>
            <p:nvCxnSpPr>
              <p:cNvPr id="81" name="Gerader Verbinder 80">
                <a:extLst>
                  <a:ext uri="{FF2B5EF4-FFF2-40B4-BE49-F238E27FC236}">
                    <a16:creationId xmlns:a16="http://schemas.microsoft.com/office/drawing/2014/main" id="{56A7317A-75CD-430C-B602-E93C165B71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1EF0A019-963A-4270-931F-DFDE8CEEF2AE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7B734A5E-AEC5-486D-81BA-93B028353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AAA044E2-7B08-4EB5-B56C-B9E2404811F6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.40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5A6DDF7B-3C45-4586-B715-867DB00EAA25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B09F6C2A-72FF-473A-9FC4-2BBCDFFEE8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41E70ED3-B280-4B12-98B1-0E624CDA8555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00</a:t>
                </a:r>
              </a:p>
            </p:txBody>
          </p: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13519177-A9A5-4C28-B905-56690F6370BE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814F7099-99D4-4BC1-B424-1D0D371D6C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C198A76C-0F63-449D-B3B9-3E5DBC7CC0D0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.60</a:t>
                </a:r>
              </a:p>
            </p:txBody>
          </p:sp>
        </p:grpSp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F01EC9B1-E3C1-4394-9DF2-821DB41FB019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DD8A3ACB-B94A-419D-92FB-05941A6F93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48E6EB08-7072-482E-8A57-E289E1E941F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.00</a:t>
                </a:r>
              </a:p>
            </p:txBody>
          </p:sp>
        </p:grpSp>
        <p:grpSp>
          <p:nvGrpSpPr>
            <p:cNvPr id="69" name="Gruppieren 68">
              <a:extLst>
                <a:ext uri="{FF2B5EF4-FFF2-40B4-BE49-F238E27FC236}">
                  <a16:creationId xmlns:a16="http://schemas.microsoft.com/office/drawing/2014/main" id="{1319C301-946F-4672-BC0B-92B5F76B85BD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70" name="Gerader Verbinder 69">
                <a:extLst>
                  <a:ext uri="{FF2B5EF4-FFF2-40B4-BE49-F238E27FC236}">
                    <a16:creationId xmlns:a16="http://schemas.microsoft.com/office/drawing/2014/main" id="{64B9A576-386D-473E-A71E-7373935B2A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9A7A7A9C-6B40-4302-901E-CC3F25A6D990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70</a:t>
                </a:r>
              </a:p>
            </p:txBody>
          </p:sp>
        </p:grpSp>
      </p:grp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4E397507-7042-A907-02D7-D6DDFB65A4A9}"/>
              </a:ext>
            </a:extLst>
          </p:cNvPr>
          <p:cNvSpPr/>
          <p:nvPr userDrawn="1"/>
        </p:nvSpPr>
        <p:spPr>
          <a:xfrm>
            <a:off x="11170444" y="299244"/>
            <a:ext cx="505399" cy="505399"/>
          </a:xfrm>
          <a:custGeom>
            <a:avLst/>
            <a:gdLst>
              <a:gd name="connsiteX0" fmla="*/ 1065181 w 1349978"/>
              <a:gd name="connsiteY0" fmla="*/ 378046 h 1349978"/>
              <a:gd name="connsiteX1" fmla="*/ 1122807 w 1349978"/>
              <a:gd name="connsiteY1" fmla="*/ 529779 h 1349978"/>
              <a:gd name="connsiteX2" fmla="*/ 1190816 w 1349978"/>
              <a:gd name="connsiteY2" fmla="*/ 640841 h 1349978"/>
              <a:gd name="connsiteX3" fmla="*/ 1152716 w 1349978"/>
              <a:gd name="connsiteY3" fmla="*/ 640841 h 1349978"/>
              <a:gd name="connsiteX4" fmla="*/ 1091851 w 1349978"/>
              <a:gd name="connsiteY4" fmla="*/ 576547 h 1349978"/>
              <a:gd name="connsiteX5" fmla="*/ 1060228 w 1349978"/>
              <a:gd name="connsiteY5" fmla="*/ 576547 h 1349978"/>
              <a:gd name="connsiteX6" fmla="*/ 1060228 w 1349978"/>
              <a:gd name="connsiteY6" fmla="*/ 671988 h 1349978"/>
              <a:gd name="connsiteX7" fmla="*/ 1287781 w 1349978"/>
              <a:gd name="connsiteY7" fmla="*/ 671988 h 1349978"/>
              <a:gd name="connsiteX8" fmla="*/ 1226725 w 1349978"/>
              <a:gd name="connsiteY8" fmla="*/ 511777 h 1349978"/>
              <a:gd name="connsiteX9" fmla="*/ 1163289 w 1349978"/>
              <a:gd name="connsiteY9" fmla="*/ 408717 h 1349978"/>
              <a:gd name="connsiteX10" fmla="*/ 1192054 w 1349978"/>
              <a:gd name="connsiteY10" fmla="*/ 408907 h 1349978"/>
              <a:gd name="connsiteX11" fmla="*/ 1192054 w 1349978"/>
              <a:gd name="connsiteY11" fmla="*/ 409002 h 1349978"/>
              <a:gd name="connsiteX12" fmla="*/ 1260444 w 1349978"/>
              <a:gd name="connsiteY12" fmla="*/ 473296 h 1349978"/>
              <a:gd name="connsiteX13" fmla="*/ 1290733 w 1349978"/>
              <a:gd name="connsiteY13" fmla="*/ 473296 h 1349978"/>
              <a:gd name="connsiteX14" fmla="*/ 1290733 w 1349978"/>
              <a:gd name="connsiteY14" fmla="*/ 378046 h 1349978"/>
              <a:gd name="connsiteX15" fmla="*/ 801053 w 1349978"/>
              <a:gd name="connsiteY15" fmla="*/ 378046 h 1349978"/>
              <a:gd name="connsiteX16" fmla="*/ 858679 w 1349978"/>
              <a:gd name="connsiteY16" fmla="*/ 529779 h 1349978"/>
              <a:gd name="connsiteX17" fmla="*/ 926688 w 1349978"/>
              <a:gd name="connsiteY17" fmla="*/ 640841 h 1349978"/>
              <a:gd name="connsiteX18" fmla="*/ 888588 w 1349978"/>
              <a:gd name="connsiteY18" fmla="*/ 640841 h 1349978"/>
              <a:gd name="connsiteX19" fmla="*/ 827723 w 1349978"/>
              <a:gd name="connsiteY19" fmla="*/ 576547 h 1349978"/>
              <a:gd name="connsiteX20" fmla="*/ 796100 w 1349978"/>
              <a:gd name="connsiteY20" fmla="*/ 576547 h 1349978"/>
              <a:gd name="connsiteX21" fmla="*/ 796100 w 1349978"/>
              <a:gd name="connsiteY21" fmla="*/ 671988 h 1349978"/>
              <a:gd name="connsiteX22" fmla="*/ 1023652 w 1349978"/>
              <a:gd name="connsiteY22" fmla="*/ 671988 h 1349978"/>
              <a:gd name="connsiteX23" fmla="*/ 962597 w 1349978"/>
              <a:gd name="connsiteY23" fmla="*/ 511777 h 1349978"/>
              <a:gd name="connsiteX24" fmla="*/ 899161 w 1349978"/>
              <a:gd name="connsiteY24" fmla="*/ 408717 h 1349978"/>
              <a:gd name="connsiteX25" fmla="*/ 927926 w 1349978"/>
              <a:gd name="connsiteY25" fmla="*/ 408907 h 1349978"/>
              <a:gd name="connsiteX26" fmla="*/ 927926 w 1349978"/>
              <a:gd name="connsiteY26" fmla="*/ 409002 h 1349978"/>
              <a:gd name="connsiteX27" fmla="*/ 996316 w 1349978"/>
              <a:gd name="connsiteY27" fmla="*/ 473296 h 1349978"/>
              <a:gd name="connsiteX28" fmla="*/ 1026891 w 1349978"/>
              <a:gd name="connsiteY28" fmla="*/ 473296 h 1349978"/>
              <a:gd name="connsiteX29" fmla="*/ 1026891 w 1349978"/>
              <a:gd name="connsiteY29" fmla="*/ 378046 h 1349978"/>
              <a:gd name="connsiteX30" fmla="*/ 606933 w 1349978"/>
              <a:gd name="connsiteY30" fmla="*/ 378046 h 1349978"/>
              <a:gd name="connsiteX31" fmla="*/ 606933 w 1349978"/>
              <a:gd name="connsiteY31" fmla="*/ 409193 h 1349978"/>
              <a:gd name="connsiteX32" fmla="*/ 614077 w 1349978"/>
              <a:gd name="connsiteY32" fmla="*/ 409193 h 1349978"/>
              <a:gd name="connsiteX33" fmla="*/ 637889 w 1349978"/>
              <a:gd name="connsiteY33" fmla="*/ 432815 h 1349978"/>
              <a:gd name="connsiteX34" fmla="*/ 637889 w 1349978"/>
              <a:gd name="connsiteY34" fmla="*/ 617028 h 1349978"/>
              <a:gd name="connsiteX35" fmla="*/ 614077 w 1349978"/>
              <a:gd name="connsiteY35" fmla="*/ 640650 h 1349978"/>
              <a:gd name="connsiteX36" fmla="*/ 606933 w 1349978"/>
              <a:gd name="connsiteY36" fmla="*/ 640650 h 1349978"/>
              <a:gd name="connsiteX37" fmla="*/ 606933 w 1349978"/>
              <a:gd name="connsiteY37" fmla="*/ 671797 h 1349978"/>
              <a:gd name="connsiteX38" fmla="*/ 763429 w 1349978"/>
              <a:gd name="connsiteY38" fmla="*/ 671797 h 1349978"/>
              <a:gd name="connsiteX39" fmla="*/ 763429 w 1349978"/>
              <a:gd name="connsiteY39" fmla="*/ 640650 h 1349978"/>
              <a:gd name="connsiteX40" fmla="*/ 756285 w 1349978"/>
              <a:gd name="connsiteY40" fmla="*/ 640650 h 1349978"/>
              <a:gd name="connsiteX41" fmla="*/ 732663 w 1349978"/>
              <a:gd name="connsiteY41" fmla="*/ 617028 h 1349978"/>
              <a:gd name="connsiteX42" fmla="*/ 732663 w 1349978"/>
              <a:gd name="connsiteY42" fmla="*/ 432815 h 1349978"/>
              <a:gd name="connsiteX43" fmla="*/ 756285 w 1349978"/>
              <a:gd name="connsiteY43" fmla="*/ 409193 h 1349978"/>
              <a:gd name="connsiteX44" fmla="*/ 763429 w 1349978"/>
              <a:gd name="connsiteY44" fmla="*/ 409193 h 1349978"/>
              <a:gd name="connsiteX45" fmla="*/ 763429 w 1349978"/>
              <a:gd name="connsiteY45" fmla="*/ 378046 h 1349978"/>
              <a:gd name="connsiteX46" fmla="*/ 325470 w 1349978"/>
              <a:gd name="connsiteY46" fmla="*/ 378046 h 1349978"/>
              <a:gd name="connsiteX47" fmla="*/ 325470 w 1349978"/>
              <a:gd name="connsiteY47" fmla="*/ 409383 h 1349978"/>
              <a:gd name="connsiteX48" fmla="*/ 332614 w 1349978"/>
              <a:gd name="connsiteY48" fmla="*/ 409383 h 1349978"/>
              <a:gd name="connsiteX49" fmla="*/ 356236 w 1349978"/>
              <a:gd name="connsiteY49" fmla="*/ 433005 h 1349978"/>
              <a:gd name="connsiteX50" fmla="*/ 356236 w 1349978"/>
              <a:gd name="connsiteY50" fmla="*/ 617219 h 1349978"/>
              <a:gd name="connsiteX51" fmla="*/ 332614 w 1349978"/>
              <a:gd name="connsiteY51" fmla="*/ 640841 h 1349978"/>
              <a:gd name="connsiteX52" fmla="*/ 325470 w 1349978"/>
              <a:gd name="connsiteY52" fmla="*/ 640841 h 1349978"/>
              <a:gd name="connsiteX53" fmla="*/ 325470 w 1349978"/>
              <a:gd name="connsiteY53" fmla="*/ 671988 h 1349978"/>
              <a:gd name="connsiteX54" fmla="*/ 574453 w 1349978"/>
              <a:gd name="connsiteY54" fmla="*/ 672178 h 1349978"/>
              <a:gd name="connsiteX55" fmla="*/ 574453 w 1349978"/>
              <a:gd name="connsiteY55" fmla="*/ 672083 h 1349978"/>
              <a:gd name="connsiteX56" fmla="*/ 574453 w 1349978"/>
              <a:gd name="connsiteY56" fmla="*/ 576642 h 1349978"/>
              <a:gd name="connsiteX57" fmla="*/ 542831 w 1349978"/>
              <a:gd name="connsiteY57" fmla="*/ 576642 h 1349978"/>
              <a:gd name="connsiteX58" fmla="*/ 481966 w 1349978"/>
              <a:gd name="connsiteY58" fmla="*/ 640936 h 1349978"/>
              <a:gd name="connsiteX59" fmla="*/ 450343 w 1349978"/>
              <a:gd name="connsiteY59" fmla="*/ 640936 h 1349978"/>
              <a:gd name="connsiteX60" fmla="*/ 450343 w 1349978"/>
              <a:gd name="connsiteY60" fmla="*/ 540733 h 1349978"/>
              <a:gd name="connsiteX61" fmla="*/ 461582 w 1349978"/>
              <a:gd name="connsiteY61" fmla="*/ 540733 h 1349978"/>
              <a:gd name="connsiteX62" fmla="*/ 485395 w 1349978"/>
              <a:gd name="connsiteY62" fmla="*/ 564546 h 1349978"/>
              <a:gd name="connsiteX63" fmla="*/ 485395 w 1349978"/>
              <a:gd name="connsiteY63" fmla="*/ 576452 h 1349978"/>
              <a:gd name="connsiteX64" fmla="*/ 516541 w 1349978"/>
              <a:gd name="connsiteY64" fmla="*/ 576452 h 1349978"/>
              <a:gd name="connsiteX65" fmla="*/ 516541 w 1349978"/>
              <a:gd name="connsiteY65" fmla="*/ 473677 h 1349978"/>
              <a:gd name="connsiteX66" fmla="*/ 485395 w 1349978"/>
              <a:gd name="connsiteY66" fmla="*/ 473677 h 1349978"/>
              <a:gd name="connsiteX67" fmla="*/ 485395 w 1349978"/>
              <a:gd name="connsiteY67" fmla="*/ 485583 h 1349978"/>
              <a:gd name="connsiteX68" fmla="*/ 461582 w 1349978"/>
              <a:gd name="connsiteY68" fmla="*/ 509396 h 1349978"/>
              <a:gd name="connsiteX69" fmla="*/ 450343 w 1349978"/>
              <a:gd name="connsiteY69" fmla="*/ 509396 h 1349978"/>
              <a:gd name="connsiteX70" fmla="*/ 450343 w 1349978"/>
              <a:gd name="connsiteY70" fmla="*/ 409193 h 1349978"/>
              <a:gd name="connsiteX71" fmla="*/ 481966 w 1349978"/>
              <a:gd name="connsiteY71" fmla="*/ 409193 h 1349978"/>
              <a:gd name="connsiteX72" fmla="*/ 542831 w 1349978"/>
              <a:gd name="connsiteY72" fmla="*/ 473487 h 1349978"/>
              <a:gd name="connsiteX73" fmla="*/ 574453 w 1349978"/>
              <a:gd name="connsiteY73" fmla="*/ 473487 h 1349978"/>
              <a:gd name="connsiteX74" fmla="*/ 574453 w 1349978"/>
              <a:gd name="connsiteY74" fmla="*/ 378046 h 1349978"/>
              <a:gd name="connsiteX75" fmla="*/ 62866 w 1349978"/>
              <a:gd name="connsiteY75" fmla="*/ 378046 h 1349978"/>
              <a:gd name="connsiteX76" fmla="*/ 62866 w 1349978"/>
              <a:gd name="connsiteY76" fmla="*/ 473296 h 1349978"/>
              <a:gd name="connsiteX77" fmla="*/ 93155 w 1349978"/>
              <a:gd name="connsiteY77" fmla="*/ 473296 h 1349978"/>
              <a:gd name="connsiteX78" fmla="*/ 161735 w 1349978"/>
              <a:gd name="connsiteY78" fmla="*/ 409002 h 1349978"/>
              <a:gd name="connsiteX79" fmla="*/ 161735 w 1349978"/>
              <a:gd name="connsiteY79" fmla="*/ 408907 h 1349978"/>
              <a:gd name="connsiteX80" fmla="*/ 190310 w 1349978"/>
              <a:gd name="connsiteY80" fmla="*/ 408717 h 1349978"/>
              <a:gd name="connsiteX81" fmla="*/ 126874 w 1349978"/>
              <a:gd name="connsiteY81" fmla="*/ 511777 h 1349978"/>
              <a:gd name="connsiteX82" fmla="*/ 52007 w 1349978"/>
              <a:gd name="connsiteY82" fmla="*/ 671988 h 1349978"/>
              <a:gd name="connsiteX83" fmla="*/ 293371 w 1349978"/>
              <a:gd name="connsiteY83" fmla="*/ 671988 h 1349978"/>
              <a:gd name="connsiteX84" fmla="*/ 293371 w 1349978"/>
              <a:gd name="connsiteY84" fmla="*/ 576547 h 1349978"/>
              <a:gd name="connsiteX85" fmla="*/ 261748 w 1349978"/>
              <a:gd name="connsiteY85" fmla="*/ 576547 h 1349978"/>
              <a:gd name="connsiteX86" fmla="*/ 201169 w 1349978"/>
              <a:gd name="connsiteY86" fmla="*/ 640841 h 1349978"/>
              <a:gd name="connsiteX87" fmla="*/ 162878 w 1349978"/>
              <a:gd name="connsiteY87" fmla="*/ 640841 h 1349978"/>
              <a:gd name="connsiteX88" fmla="*/ 231077 w 1349978"/>
              <a:gd name="connsiteY88" fmla="*/ 529779 h 1349978"/>
              <a:gd name="connsiteX89" fmla="*/ 299086 w 1349978"/>
              <a:gd name="connsiteY89" fmla="*/ 378046 h 1349978"/>
              <a:gd name="connsiteX90" fmla="*/ 0 w 1349978"/>
              <a:gd name="connsiteY90" fmla="*/ 0 h 1349978"/>
              <a:gd name="connsiteX91" fmla="*/ 1349978 w 1349978"/>
              <a:gd name="connsiteY91" fmla="*/ 0 h 1349978"/>
              <a:gd name="connsiteX92" fmla="*/ 1349788 w 1349978"/>
              <a:gd name="connsiteY92" fmla="*/ 1349978 h 1349978"/>
              <a:gd name="connsiteX93" fmla="*/ 675037 w 1349978"/>
              <a:gd name="connsiteY93" fmla="*/ 1205389 h 1349978"/>
              <a:gd name="connsiteX94" fmla="*/ 0 w 1349978"/>
              <a:gd name="connsiteY94" fmla="*/ 1349978 h 1349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349978" h="1349978">
                <a:moveTo>
                  <a:pt x="1065181" y="378046"/>
                </a:moveTo>
                <a:cubicBezTo>
                  <a:pt x="1065181" y="378046"/>
                  <a:pt x="1029462" y="424814"/>
                  <a:pt x="1122807" y="529779"/>
                </a:cubicBezTo>
                <a:cubicBezTo>
                  <a:pt x="1122807" y="529779"/>
                  <a:pt x="1189006" y="607027"/>
                  <a:pt x="1190816" y="640841"/>
                </a:cubicBezTo>
                <a:lnTo>
                  <a:pt x="1152716" y="640841"/>
                </a:lnTo>
                <a:cubicBezTo>
                  <a:pt x="1097757" y="640841"/>
                  <a:pt x="1091851" y="576547"/>
                  <a:pt x="1091851" y="576547"/>
                </a:cubicBezTo>
                <a:lnTo>
                  <a:pt x="1060228" y="576547"/>
                </a:lnTo>
                <a:lnTo>
                  <a:pt x="1060228" y="671988"/>
                </a:lnTo>
                <a:lnTo>
                  <a:pt x="1287781" y="671988"/>
                </a:lnTo>
                <a:cubicBezTo>
                  <a:pt x="1287781" y="671988"/>
                  <a:pt x="1329119" y="627411"/>
                  <a:pt x="1226725" y="511777"/>
                </a:cubicBezTo>
                <a:cubicBezTo>
                  <a:pt x="1226725" y="511777"/>
                  <a:pt x="1173004" y="456627"/>
                  <a:pt x="1163289" y="408717"/>
                </a:cubicBezTo>
                <a:lnTo>
                  <a:pt x="1192054" y="408907"/>
                </a:lnTo>
                <a:lnTo>
                  <a:pt x="1192054" y="409002"/>
                </a:lnTo>
                <a:cubicBezTo>
                  <a:pt x="1255300" y="409002"/>
                  <a:pt x="1260444" y="473296"/>
                  <a:pt x="1260444" y="473296"/>
                </a:cubicBezTo>
                <a:lnTo>
                  <a:pt x="1290733" y="473296"/>
                </a:lnTo>
                <a:lnTo>
                  <a:pt x="1290733" y="378046"/>
                </a:lnTo>
                <a:close/>
                <a:moveTo>
                  <a:pt x="801053" y="378046"/>
                </a:moveTo>
                <a:cubicBezTo>
                  <a:pt x="801053" y="378046"/>
                  <a:pt x="765334" y="424814"/>
                  <a:pt x="858679" y="529779"/>
                </a:cubicBezTo>
                <a:cubicBezTo>
                  <a:pt x="858679" y="529779"/>
                  <a:pt x="924878" y="607027"/>
                  <a:pt x="926688" y="640841"/>
                </a:cubicBezTo>
                <a:lnTo>
                  <a:pt x="888588" y="640841"/>
                </a:lnTo>
                <a:cubicBezTo>
                  <a:pt x="833629" y="640841"/>
                  <a:pt x="827723" y="576547"/>
                  <a:pt x="827723" y="576547"/>
                </a:cubicBezTo>
                <a:lnTo>
                  <a:pt x="796100" y="576547"/>
                </a:lnTo>
                <a:lnTo>
                  <a:pt x="796100" y="671988"/>
                </a:lnTo>
                <a:lnTo>
                  <a:pt x="1023652" y="671988"/>
                </a:lnTo>
                <a:cubicBezTo>
                  <a:pt x="1023652" y="671988"/>
                  <a:pt x="1064991" y="627411"/>
                  <a:pt x="962597" y="511777"/>
                </a:cubicBezTo>
                <a:cubicBezTo>
                  <a:pt x="962597" y="511777"/>
                  <a:pt x="908876" y="456627"/>
                  <a:pt x="899161" y="408717"/>
                </a:cubicBezTo>
                <a:lnTo>
                  <a:pt x="927926" y="408907"/>
                </a:lnTo>
                <a:lnTo>
                  <a:pt x="927926" y="409002"/>
                </a:lnTo>
                <a:cubicBezTo>
                  <a:pt x="991363" y="409002"/>
                  <a:pt x="996316" y="473296"/>
                  <a:pt x="996316" y="473296"/>
                </a:cubicBezTo>
                <a:lnTo>
                  <a:pt x="1026891" y="473296"/>
                </a:lnTo>
                <a:lnTo>
                  <a:pt x="1026891" y="378046"/>
                </a:lnTo>
                <a:close/>
                <a:moveTo>
                  <a:pt x="606933" y="378046"/>
                </a:moveTo>
                <a:lnTo>
                  <a:pt x="606933" y="409193"/>
                </a:lnTo>
                <a:lnTo>
                  <a:pt x="614077" y="409193"/>
                </a:lnTo>
                <a:cubicBezTo>
                  <a:pt x="627316" y="409193"/>
                  <a:pt x="637889" y="419766"/>
                  <a:pt x="637889" y="432815"/>
                </a:cubicBezTo>
                <a:lnTo>
                  <a:pt x="637889" y="617028"/>
                </a:lnTo>
                <a:cubicBezTo>
                  <a:pt x="637889" y="629982"/>
                  <a:pt x="627316" y="640650"/>
                  <a:pt x="614077" y="640650"/>
                </a:cubicBezTo>
                <a:lnTo>
                  <a:pt x="606933" y="640650"/>
                </a:lnTo>
                <a:lnTo>
                  <a:pt x="606933" y="671797"/>
                </a:lnTo>
                <a:lnTo>
                  <a:pt x="763429" y="671797"/>
                </a:lnTo>
                <a:lnTo>
                  <a:pt x="763429" y="640650"/>
                </a:lnTo>
                <a:lnTo>
                  <a:pt x="756285" y="640650"/>
                </a:lnTo>
                <a:cubicBezTo>
                  <a:pt x="743331" y="640650"/>
                  <a:pt x="732663" y="629982"/>
                  <a:pt x="732663" y="617028"/>
                </a:cubicBezTo>
                <a:lnTo>
                  <a:pt x="732663" y="432815"/>
                </a:lnTo>
                <a:cubicBezTo>
                  <a:pt x="732663" y="419861"/>
                  <a:pt x="743236" y="409193"/>
                  <a:pt x="756285" y="409193"/>
                </a:cubicBezTo>
                <a:lnTo>
                  <a:pt x="763429" y="409193"/>
                </a:lnTo>
                <a:lnTo>
                  <a:pt x="763429" y="378046"/>
                </a:lnTo>
                <a:close/>
                <a:moveTo>
                  <a:pt x="325470" y="378046"/>
                </a:moveTo>
                <a:lnTo>
                  <a:pt x="325470" y="409383"/>
                </a:lnTo>
                <a:lnTo>
                  <a:pt x="332614" y="409383"/>
                </a:lnTo>
                <a:cubicBezTo>
                  <a:pt x="345568" y="409383"/>
                  <a:pt x="356236" y="420051"/>
                  <a:pt x="356236" y="433005"/>
                </a:cubicBezTo>
                <a:lnTo>
                  <a:pt x="356236" y="617219"/>
                </a:lnTo>
                <a:cubicBezTo>
                  <a:pt x="356236" y="630173"/>
                  <a:pt x="345663" y="640841"/>
                  <a:pt x="332614" y="640841"/>
                </a:cubicBezTo>
                <a:lnTo>
                  <a:pt x="325470" y="640841"/>
                </a:lnTo>
                <a:lnTo>
                  <a:pt x="325470" y="671988"/>
                </a:lnTo>
                <a:lnTo>
                  <a:pt x="574453" y="672178"/>
                </a:lnTo>
                <a:lnTo>
                  <a:pt x="574453" y="672083"/>
                </a:lnTo>
                <a:lnTo>
                  <a:pt x="574453" y="576642"/>
                </a:lnTo>
                <a:lnTo>
                  <a:pt x="542831" y="576642"/>
                </a:lnTo>
                <a:cubicBezTo>
                  <a:pt x="542831" y="576642"/>
                  <a:pt x="537020" y="640936"/>
                  <a:pt x="481966" y="640936"/>
                </a:cubicBezTo>
                <a:lnTo>
                  <a:pt x="450343" y="640936"/>
                </a:lnTo>
                <a:lnTo>
                  <a:pt x="450343" y="540733"/>
                </a:lnTo>
                <a:lnTo>
                  <a:pt x="461582" y="540733"/>
                </a:lnTo>
                <a:cubicBezTo>
                  <a:pt x="474822" y="540733"/>
                  <a:pt x="485395" y="551401"/>
                  <a:pt x="485395" y="564546"/>
                </a:cubicBezTo>
                <a:lnTo>
                  <a:pt x="485395" y="576452"/>
                </a:lnTo>
                <a:lnTo>
                  <a:pt x="516541" y="576452"/>
                </a:lnTo>
                <a:lnTo>
                  <a:pt x="516541" y="473677"/>
                </a:lnTo>
                <a:lnTo>
                  <a:pt x="485395" y="473677"/>
                </a:lnTo>
                <a:lnTo>
                  <a:pt x="485395" y="485583"/>
                </a:lnTo>
                <a:cubicBezTo>
                  <a:pt x="485395" y="498823"/>
                  <a:pt x="474822" y="509396"/>
                  <a:pt x="461582" y="509396"/>
                </a:cubicBezTo>
                <a:lnTo>
                  <a:pt x="450343" y="509396"/>
                </a:lnTo>
                <a:lnTo>
                  <a:pt x="450343" y="409193"/>
                </a:lnTo>
                <a:lnTo>
                  <a:pt x="481966" y="409193"/>
                </a:lnTo>
                <a:cubicBezTo>
                  <a:pt x="536925" y="409193"/>
                  <a:pt x="542831" y="473487"/>
                  <a:pt x="542831" y="473487"/>
                </a:cubicBezTo>
                <a:lnTo>
                  <a:pt x="574453" y="473487"/>
                </a:lnTo>
                <a:lnTo>
                  <a:pt x="574453" y="378046"/>
                </a:lnTo>
                <a:close/>
                <a:moveTo>
                  <a:pt x="62866" y="378046"/>
                </a:moveTo>
                <a:lnTo>
                  <a:pt x="62866" y="473296"/>
                </a:lnTo>
                <a:lnTo>
                  <a:pt x="93155" y="473296"/>
                </a:lnTo>
                <a:cubicBezTo>
                  <a:pt x="93155" y="473296"/>
                  <a:pt x="98299" y="409002"/>
                  <a:pt x="161735" y="409002"/>
                </a:cubicBezTo>
                <a:lnTo>
                  <a:pt x="161735" y="408907"/>
                </a:lnTo>
                <a:lnTo>
                  <a:pt x="190310" y="408717"/>
                </a:lnTo>
                <a:cubicBezTo>
                  <a:pt x="178404" y="454246"/>
                  <a:pt x="126874" y="511777"/>
                  <a:pt x="126874" y="511777"/>
                </a:cubicBezTo>
                <a:cubicBezTo>
                  <a:pt x="43149" y="599693"/>
                  <a:pt x="52007" y="671988"/>
                  <a:pt x="52007" y="671988"/>
                </a:cubicBezTo>
                <a:lnTo>
                  <a:pt x="293371" y="671988"/>
                </a:lnTo>
                <a:lnTo>
                  <a:pt x="293371" y="576547"/>
                </a:lnTo>
                <a:lnTo>
                  <a:pt x="261748" y="576547"/>
                </a:lnTo>
                <a:cubicBezTo>
                  <a:pt x="261748" y="576547"/>
                  <a:pt x="256128" y="640841"/>
                  <a:pt x="201169" y="640841"/>
                </a:cubicBezTo>
                <a:lnTo>
                  <a:pt x="162878" y="640841"/>
                </a:lnTo>
                <a:cubicBezTo>
                  <a:pt x="164593" y="607027"/>
                  <a:pt x="231077" y="529779"/>
                  <a:pt x="231077" y="529779"/>
                </a:cubicBezTo>
                <a:cubicBezTo>
                  <a:pt x="300991" y="451674"/>
                  <a:pt x="299086" y="378046"/>
                  <a:pt x="299086" y="378046"/>
                </a:cubicBezTo>
                <a:close/>
                <a:moveTo>
                  <a:pt x="0" y="0"/>
                </a:moveTo>
                <a:lnTo>
                  <a:pt x="1349978" y="0"/>
                </a:lnTo>
                <a:lnTo>
                  <a:pt x="1349788" y="1349978"/>
                </a:lnTo>
                <a:cubicBezTo>
                  <a:pt x="1143953" y="1257110"/>
                  <a:pt x="915543" y="1205389"/>
                  <a:pt x="675037" y="1205389"/>
                </a:cubicBezTo>
                <a:cubicBezTo>
                  <a:pt x="434530" y="1205389"/>
                  <a:pt x="205835" y="1257110"/>
                  <a:pt x="0" y="1349978"/>
                </a:cubicBezTo>
                <a:close/>
              </a:path>
            </a:pathLst>
          </a:custGeom>
          <a:solidFill>
            <a:srgbClr val="0F2DB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cxnSp>
        <p:nvCxnSpPr>
          <p:cNvPr id="8" name="Gerade Verbindung 71">
            <a:extLst>
              <a:ext uri="{FF2B5EF4-FFF2-40B4-BE49-F238E27FC236}">
                <a16:creationId xmlns:a16="http://schemas.microsoft.com/office/drawing/2014/main" id="{4C4D4FE4-55CA-A7C1-E0D2-36B7ED5D5851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6167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703" r:id="rId4"/>
    <p:sldLayoutId id="2147483706" r:id="rId5"/>
    <p:sldLayoutId id="2147483702" r:id="rId6"/>
    <p:sldLayoutId id="2147483685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 userDrawn="1">
          <p15:clr>
            <a:srgbClr val="A4A3A4"/>
          </p15:clr>
        </p15:guide>
        <p15:guide id="14" pos="3840" userDrawn="1">
          <p15:clr>
            <a:srgbClr val="A4A3A4"/>
          </p15:clr>
        </p15:guide>
        <p15:guide id="15" pos="325" userDrawn="1">
          <p15:clr>
            <a:srgbClr val="A4A3A4"/>
          </p15:clr>
        </p15:guide>
        <p15:guide id="16" pos="7355" userDrawn="1">
          <p15:clr>
            <a:srgbClr val="A4A3A4"/>
          </p15:clr>
        </p15:guide>
        <p15:guide id="17" pos="3931" userDrawn="1">
          <p15:clr>
            <a:srgbClr val="A4A3A4"/>
          </p15:clr>
        </p15:guide>
        <p15:guide id="18" pos="3749" userDrawn="1">
          <p15:clr>
            <a:srgbClr val="A4A3A4"/>
          </p15:clr>
        </p15:guide>
        <p15:guide id="19" orient="horz" pos="187" userDrawn="1">
          <p15:clr>
            <a:srgbClr val="A4A3A4"/>
          </p15:clr>
        </p15:guide>
        <p15:guide id="20" orient="horz" pos="663" userDrawn="1">
          <p15:clr>
            <a:srgbClr val="A4A3A4"/>
          </p15:clr>
        </p15:guide>
        <p15:guide id="21" orient="horz" pos="1026" userDrawn="1">
          <p15:clr>
            <a:srgbClr val="A4A3A4"/>
          </p15:clr>
        </p15:guide>
        <p15:guide id="23" orient="horz" pos="4184" userDrawn="1">
          <p15:clr>
            <a:srgbClr val="A4A3A4"/>
          </p15:clr>
        </p15:guide>
        <p15:guide id="24" orient="horz" pos="383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5.gif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tif"/><Relationship Id="rId2" Type="http://schemas.openxmlformats.org/officeDocument/2006/relationships/image" Target="../media/image4.tif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8.png"/><Relationship Id="rId5" Type="http://schemas.openxmlformats.org/officeDocument/2006/relationships/image" Target="../media/image7.tif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t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5.xml"/><Relationship Id="rId4" Type="http://schemas.microsoft.com/office/2007/relationships/hdphoto" Target="../media/hdphoto2.wdp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tiff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tif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ACA13F2-CC87-4282-AD70-CF5146DB8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 STEM in SEM a Viable Alternative to TEM?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DDC9CEF-2B9F-447A-B840-6EFC646AD3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600" b="1" dirty="0">
                <a:solidFill>
                  <a:schemeClr val="tx1"/>
                </a:solidFill>
              </a:rPr>
              <a:t>Dr. Pat Trimby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Carl Zeiss UK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726B23-4DD7-47B5-86E6-63D67DDB6186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711762" y="1756296"/>
            <a:ext cx="881652" cy="184666"/>
          </a:xfrm>
        </p:spPr>
        <p:txBody>
          <a:bodyPr/>
          <a:lstStyle/>
          <a:p>
            <a:pPr>
              <a:buFont typeface="Arial" panose="020B0604020202020204" pitchFamily="34" charset="0"/>
              <a:buNone/>
            </a:pPr>
            <a:fld id="{3396AD3D-C2E8-48A8-9533-D58B0DB721F4}" type="datetime3">
              <a:rPr lang="en-US" smtClean="0"/>
              <a:t>20 April 2026</a:t>
            </a:fld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72FAD1B-576F-4C1D-9B8D-903248BF6C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9000" contrast="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393" b="25393"/>
          <a:stretch/>
        </p:blipFill>
        <p:spPr>
          <a:xfrm>
            <a:off x="0" y="2351088"/>
            <a:ext cx="12192000" cy="4506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2761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24F2A8-EFB9-82EE-F039-004539CB3D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A7D42C-F3EC-074F-BED3-00C3BA851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5086" y="2913529"/>
            <a:ext cx="8663775" cy="1962150"/>
          </a:xfrm>
        </p:spPr>
        <p:txBody>
          <a:bodyPr/>
          <a:lstStyle/>
          <a:p>
            <a:pPr algn="ctr"/>
            <a:r>
              <a:rPr lang="en-US" dirty="0"/>
              <a:t>BaFe</a:t>
            </a:r>
            <a:r>
              <a:rPr lang="en-US" baseline="-25000" dirty="0"/>
              <a:t>12</a:t>
            </a:r>
            <a:r>
              <a:rPr lang="en-US" dirty="0"/>
              <a:t>O</a:t>
            </a:r>
            <a:r>
              <a:rPr lang="en-US" baseline="-25000" dirty="0"/>
              <a:t>19</a:t>
            </a:r>
            <a:r>
              <a:rPr lang="en-US" dirty="0"/>
              <a:t> Nanoparticles</a:t>
            </a:r>
            <a:br>
              <a:rPr lang="en-US" dirty="0"/>
            </a:b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 Heavy"/>
                <a:ea typeface="+mj-ea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j-ea"/>
              </a:rPr>
              <a:t>Sample courtesy of Dr. Romanus, TU Ilmenau, Germany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j-ea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8717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35B92F-BED5-F346-2901-51D95499FF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b="1" dirty="0"/>
              <a:t>BaFe</a:t>
            </a:r>
            <a:r>
              <a:rPr lang="en-US" b="1" baseline="-25000" dirty="0"/>
              <a:t>12</a:t>
            </a:r>
            <a:r>
              <a:rPr lang="en-US" b="1" dirty="0"/>
              <a:t>O</a:t>
            </a:r>
            <a:r>
              <a:rPr lang="en-US" b="1" baseline="-25000" dirty="0"/>
              <a:t>19</a:t>
            </a:r>
            <a:r>
              <a:rPr lang="en-US" b="1" dirty="0"/>
              <a:t> Nanoparticl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54A8E7-51D5-1ACA-C3A2-C75B0B0D058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dirty="0"/>
              <a:t>Pushing the resolution of STEM in SEM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F8F9FD-2B87-8282-941B-656B9854E8BE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24198E-AFA8-DF24-A223-810FDC8373A2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7C872-3A57-7EC3-0D96-166003CD26F4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11</a:t>
            </a:fld>
            <a:endParaRPr lang="en-US" noProof="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27AC040-CBA1-E0F6-7F1B-865EECA7818C}"/>
              </a:ext>
            </a:extLst>
          </p:cNvPr>
          <p:cNvGrpSpPr/>
          <p:nvPr/>
        </p:nvGrpSpPr>
        <p:grpSpPr>
          <a:xfrm>
            <a:off x="4289748" y="1243127"/>
            <a:ext cx="6951409" cy="5213555"/>
            <a:chOff x="4110843" y="1243127"/>
            <a:chExt cx="6951409" cy="5213555"/>
          </a:xfrm>
        </p:grpSpPr>
        <p:pic>
          <p:nvPicPr>
            <p:cNvPr id="7" name="Picture 4" descr="C:\Users\M1LHA\Documents\SEM\20141022_BHF\PlainImages\22kV_BF_28.tif">
              <a:extLst>
                <a:ext uri="{FF2B5EF4-FFF2-40B4-BE49-F238E27FC236}">
                  <a16:creationId xmlns:a16="http://schemas.microsoft.com/office/drawing/2014/main" id="{D91CA669-2615-DDB8-B800-12B3DF1B40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0843" y="1243127"/>
              <a:ext cx="6951409" cy="52135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hteck 12">
              <a:extLst>
                <a:ext uri="{FF2B5EF4-FFF2-40B4-BE49-F238E27FC236}">
                  <a16:creationId xmlns:a16="http://schemas.microsoft.com/office/drawing/2014/main" id="{087447E1-7801-7349-C826-E1872532FCF1}"/>
                </a:ext>
              </a:extLst>
            </p:cNvPr>
            <p:cNvSpPr/>
            <p:nvPr/>
          </p:nvSpPr>
          <p:spPr>
            <a:xfrm>
              <a:off x="4326668" y="6127970"/>
              <a:ext cx="593202" cy="87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9" name="Textfeld 13">
              <a:extLst>
                <a:ext uri="{FF2B5EF4-FFF2-40B4-BE49-F238E27FC236}">
                  <a16:creationId xmlns:a16="http://schemas.microsoft.com/office/drawing/2014/main" id="{986F7CED-9EDE-D56C-9FFC-C2F06B1151DE}"/>
                </a:ext>
              </a:extLst>
            </p:cNvPr>
            <p:cNvSpPr txBox="1"/>
            <p:nvPr/>
          </p:nvSpPr>
          <p:spPr>
            <a:xfrm>
              <a:off x="4247614" y="5805727"/>
              <a:ext cx="987777" cy="4690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FFFFFF"/>
                  </a:solidFill>
                </a:rPr>
                <a:t>10 nm</a:t>
              </a:r>
            </a:p>
          </p:txBody>
        </p:sp>
      </p:grp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672FDD-DCEA-0010-FFA6-CB982622A7AB}"/>
              </a:ext>
            </a:extLst>
          </p:cNvPr>
          <p:cNvSpPr txBox="1">
            <a:spLocks/>
          </p:cNvSpPr>
          <p:nvPr/>
        </p:nvSpPr>
        <p:spPr>
          <a:xfrm>
            <a:off x="518319" y="1355409"/>
            <a:ext cx="3592524" cy="474042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b-nm resolution using 22 kV STEM imaging in a ZEISS </a:t>
            </a:r>
            <a:r>
              <a:rPr lang="en-US" dirty="0" err="1"/>
              <a:t>GeminiSEM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EM in HAADF m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age clearly shows 1.1 nm (002) lattice spa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rast is due to mass-thickness variations associated with Fe and Ba sites in </a:t>
            </a:r>
            <a:r>
              <a:rPr lang="en-US"/>
              <a:t>the lattice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66BAA1C-FEAB-36E6-BDBC-F811922AC41C}"/>
              </a:ext>
            </a:extLst>
          </p:cNvPr>
          <p:cNvGrpSpPr/>
          <p:nvPr/>
        </p:nvGrpSpPr>
        <p:grpSpPr>
          <a:xfrm>
            <a:off x="8271501" y="3176887"/>
            <a:ext cx="865011" cy="497953"/>
            <a:chOff x="8271501" y="3176887"/>
            <a:chExt cx="865011" cy="497953"/>
          </a:xfrm>
        </p:grpSpPr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162D730D-E3F6-E152-63CD-3F69A1F7F7CD}"/>
                </a:ext>
              </a:extLst>
            </p:cNvPr>
            <p:cNvSpPr/>
            <p:nvPr/>
          </p:nvSpPr>
          <p:spPr>
            <a:xfrm rot="1640527">
              <a:off x="8271501" y="3277460"/>
              <a:ext cx="363984" cy="210845"/>
            </a:xfrm>
            <a:prstGeom prst="rightArrow">
              <a:avLst/>
            </a:prstGeom>
            <a:solidFill>
              <a:srgbClr val="FFFF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180000" rIns="180000" bIns="180000" rtlCol="0" anchor="t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13" name="Arrow: Right 12">
              <a:extLst>
                <a:ext uri="{FF2B5EF4-FFF2-40B4-BE49-F238E27FC236}">
                  <a16:creationId xmlns:a16="http://schemas.microsoft.com/office/drawing/2014/main" id="{0DE742EB-A388-DD22-04A8-F8D9631D73AA}"/>
                </a:ext>
              </a:extLst>
            </p:cNvPr>
            <p:cNvSpPr/>
            <p:nvPr/>
          </p:nvSpPr>
          <p:spPr>
            <a:xfrm rot="12375790">
              <a:off x="8646475" y="3463995"/>
              <a:ext cx="363984" cy="210845"/>
            </a:xfrm>
            <a:prstGeom prst="rightArrow">
              <a:avLst/>
            </a:prstGeom>
            <a:solidFill>
              <a:srgbClr val="FFFF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180000" rIns="180000" bIns="180000" rtlCol="0" anchor="t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2DC300F-E4CF-223B-EAB2-548FA324FEA0}"/>
                </a:ext>
              </a:extLst>
            </p:cNvPr>
            <p:cNvSpPr txBox="1"/>
            <p:nvPr/>
          </p:nvSpPr>
          <p:spPr>
            <a:xfrm rot="1504491">
              <a:off x="8474471" y="3176887"/>
              <a:ext cx="662041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1.1 n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9795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AAD567-1863-99FE-2F16-46C507324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M Tomograph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177394-3707-172F-7EC6-C9613F67BEEB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dirty="0"/>
              <a:t>3D nanoscale </a:t>
            </a:r>
            <a:r>
              <a:rPr lang="en-US" dirty="0" err="1"/>
              <a:t>visualisatio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44D8D2-6699-EAD1-AD0E-49CE2E634A20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CBFCE7-2BEE-403F-478B-A4946DA31649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303F9-80FB-4AC1-3E81-AE98EC47CAB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12</a:t>
            </a:fld>
            <a:endParaRPr lang="en-US" noProof="0" dirty="0"/>
          </a:p>
        </p:txBody>
      </p:sp>
      <p:pic>
        <p:nvPicPr>
          <p:cNvPr id="8" name="STEM tomo 1">
            <a:hlinkClick r:id="" action="ppaction://media"/>
            <a:extLst>
              <a:ext uri="{FF2B5EF4-FFF2-40B4-BE49-F238E27FC236}">
                <a16:creationId xmlns:a16="http://schemas.microsoft.com/office/drawing/2014/main" id="{667C6568-10EB-EC68-2BA1-BA6D9BCF435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11786" y="1355409"/>
            <a:ext cx="5579969" cy="4157624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8A03911-87C3-832F-8E2B-9E013E34EC1D}"/>
              </a:ext>
            </a:extLst>
          </p:cNvPr>
          <p:cNvGrpSpPr/>
          <p:nvPr/>
        </p:nvGrpSpPr>
        <p:grpSpPr>
          <a:xfrm>
            <a:off x="6338656" y="1355409"/>
            <a:ext cx="5517344" cy="4604340"/>
            <a:chOff x="6338656" y="1355409"/>
            <a:chExt cx="5517344" cy="460434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18DDB09-3AB9-E79A-4817-04B4A15366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38656" y="1355409"/>
              <a:ext cx="5517344" cy="4138008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D921A29-B399-106F-D7BC-2A0E4BB3ECBB}"/>
                </a:ext>
              </a:extLst>
            </p:cNvPr>
            <p:cNvSpPr txBox="1"/>
            <p:nvPr/>
          </p:nvSpPr>
          <p:spPr>
            <a:xfrm>
              <a:off x="6338656" y="5713528"/>
              <a:ext cx="4789773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sz="1600" dirty="0"/>
                <a:t>Me-ZSM-5 zeolite catalyst – Annular Darkfield Tilt Serie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FB30F4EC-CC7A-FB98-90E9-37A80D12402D}"/>
                </a:ext>
              </a:extLst>
            </p:cNvPr>
            <p:cNvCxnSpPr/>
            <p:nvPr/>
          </p:nvCxnSpPr>
          <p:spPr>
            <a:xfrm>
              <a:off x="7776839" y="2547891"/>
              <a:ext cx="1953088" cy="0"/>
            </a:xfrm>
            <a:prstGeom prst="straightConnector1">
              <a:avLst/>
            </a:prstGeom>
            <a:ln w="19050">
              <a:solidFill>
                <a:srgbClr val="FFFF00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38C0C6E-5461-79CD-ACED-B6F2FF3490E8}"/>
                </a:ext>
              </a:extLst>
            </p:cNvPr>
            <p:cNvSpPr txBox="1"/>
            <p:nvPr/>
          </p:nvSpPr>
          <p:spPr>
            <a:xfrm>
              <a:off x="8392904" y="2301670"/>
              <a:ext cx="66524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700 n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196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33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EEC5B-E8D2-E3D1-7E57-C9B4CFF42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12F7C9-6B75-69A2-B018-DA061C4BEA1E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6000" y="1446293"/>
            <a:ext cx="11160000" cy="4464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Adding a STEM detector to a FEG-SEM provides significant TEM-like imaging cap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Using a multi-segment ZEISS STEM detector offers versatility in imaging signals, including DF, BF, ODF and (HA)ADF – all collected simultaneous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STEM imaging resolution routinely better than 1 nm (specified down to 4 Å with the ZEISS </a:t>
            </a:r>
            <a:r>
              <a:rPr lang="en-US" sz="2000" dirty="0" err="1"/>
              <a:t>GeminiSEM</a:t>
            </a:r>
            <a:r>
              <a:rPr lang="en-US" sz="2000" dirty="0"/>
              <a:t> 560) – in some cases this enables imaging of lattice pla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Example STEM images collected in the SEM from both materials and biological samples compare very </a:t>
            </a:r>
            <a:r>
              <a:rPr lang="en-US" sz="2000" dirty="0" err="1"/>
              <a:t>favourably</a:t>
            </a:r>
            <a:r>
              <a:rPr lang="en-US" sz="2000" dirty="0"/>
              <a:t> with routine TEM imag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12-sample STEM holders deliver high throughput in a single s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STEM in SEM capability can be extended to include STEM Tomography for 3D </a:t>
            </a:r>
            <a:r>
              <a:rPr lang="en-US" sz="2000" dirty="0" err="1"/>
              <a:t>visualisation</a:t>
            </a: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s STEM in SEM a viable alternative to TEM? YES!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F25735-FDFD-BBA8-A78D-E4AA4A633AD3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849454A0-EBCC-4CD8-85B9-290E4583EC11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25C96F-72EF-C6A4-4319-6BCD7DBB2C8E}"/>
              </a:ext>
            </a:extLst>
          </p:cNvPr>
          <p:cNvSpPr>
            <a:spLocks noGrp="1"/>
          </p:cNvSpPr>
          <p:nvPr>
            <p:ph type="ftr" sz="quarter" idx="65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61998D-596F-BDD2-72BA-E895A23B26D9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13</a:t>
            </a:fld>
            <a:endParaRPr lang="en-US" noProof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FDAEA9-0CC4-F3CE-6C8F-D3584EB6B0C2}"/>
              </a:ext>
            </a:extLst>
          </p:cNvPr>
          <p:cNvSpPr txBox="1"/>
          <p:nvPr/>
        </p:nvSpPr>
        <p:spPr>
          <a:xfrm>
            <a:off x="1012055" y="5837292"/>
            <a:ext cx="999632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Join us for a STEM in SEM demonstration on the ZEISS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GeminiSEM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 500 after lunch!  </a:t>
            </a:r>
          </a:p>
        </p:txBody>
      </p:sp>
    </p:spTree>
    <p:extLst>
      <p:ext uri="{BB962C8B-B14F-4D97-AF65-F5344CB8AC3E}">
        <p14:creationId xmlns:p14="http://schemas.microsoft.com/office/powerpoint/2010/main" val="1921817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79824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46B5CC-7D65-6464-0F78-2D6D461FD7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endum: 4D STEM in SE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5021BF-8195-DE43-FE9D-7E8BB37A6EAD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2F6F9F-FD57-967C-5888-1CBD78842F6B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5AF0A8-41FB-A062-976B-698D071EF490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9E3E8D-8945-63AE-F6F9-4CFE53D7709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15</a:t>
            </a:fld>
            <a:endParaRPr lang="en-US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83358A3-1085-4890-7736-ECD880F97D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5715" y="1355409"/>
            <a:ext cx="3910254" cy="230219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E217D55-548C-28A7-0B17-F648F44D93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1703" y="1376102"/>
            <a:ext cx="4669163" cy="230219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1B440B-FF98-EF69-11CA-082A35941F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5715" y="4000822"/>
            <a:ext cx="4268094" cy="248659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74B3418-7686-14E1-4352-FBB5077F0A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71703" y="4195228"/>
            <a:ext cx="4918729" cy="201991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281922A-D0B0-A4DD-17B5-9CE15B87BC2D}"/>
              </a:ext>
            </a:extLst>
          </p:cNvPr>
          <p:cNvSpPr txBox="1"/>
          <p:nvPr/>
        </p:nvSpPr>
        <p:spPr>
          <a:xfrm>
            <a:off x="376276" y="4429957"/>
            <a:ext cx="2455700" cy="1282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Bansal et al. (2025):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Data-efficient 4D-STEM in SE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. Ultramicroscopy 276,114203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US" sz="1400" dirty="0">
              <a:solidFill>
                <a:srgbClr val="000000"/>
              </a:solidFill>
              <a:latin typeface="ZEISS Frutiger Next W1G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(ZEISS Merlin FEG SEM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83250E-81CF-21C9-F0F5-3E4DAFF568F0}"/>
              </a:ext>
            </a:extLst>
          </p:cNvPr>
          <p:cNvSpPr txBox="1"/>
          <p:nvPr/>
        </p:nvSpPr>
        <p:spPr>
          <a:xfrm>
            <a:off x="7501632" y="6318141"/>
            <a:ext cx="385290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verage diffraction pattern and in-plane orientation map from nanocrystalline Pt-Cu (10-15 nm grain size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FD215A-3D6D-E2DF-3D7A-DC94C0B39B7B}"/>
              </a:ext>
            </a:extLst>
          </p:cNvPr>
          <p:cNvSpPr txBox="1"/>
          <p:nvPr/>
        </p:nvSpPr>
        <p:spPr>
          <a:xfrm>
            <a:off x="7489509" y="3703654"/>
            <a:ext cx="42680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Orientation maps of Graphene collected using SEM-based 4D STE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6B5BB0-78CB-2FBF-D086-36E4A6287A28}"/>
              </a:ext>
            </a:extLst>
          </p:cNvPr>
          <p:cNvSpPr txBox="1"/>
          <p:nvPr/>
        </p:nvSpPr>
        <p:spPr>
          <a:xfrm>
            <a:off x="376276" y="1834099"/>
            <a:ext cx="2455700" cy="17132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Caplins et al., (2020), 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Orientation mapping of graphene using 4D STEM-in-SEM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. Ultramicroscopy 219, 113137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US" sz="1400" dirty="0">
              <a:solidFill>
                <a:srgbClr val="000000"/>
              </a:solidFill>
              <a:latin typeface="ZEISS Frutiger Next W1G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(ZEISS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GeminiSE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 300)</a:t>
            </a: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62B5F75D-8A1B-BA95-E227-421EA55F7D2A}"/>
              </a:ext>
            </a:extLst>
          </p:cNvPr>
          <p:cNvSpPr/>
          <p:nvPr/>
        </p:nvSpPr>
        <p:spPr>
          <a:xfrm>
            <a:off x="6408083" y="2292886"/>
            <a:ext cx="621437" cy="594804"/>
          </a:xfrm>
          <a:prstGeom prst="rightArrow">
            <a:avLst/>
          </a:prstGeom>
          <a:solidFill>
            <a:srgbClr val="C0000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B28AD3CF-E777-82A5-B04A-D09438FFE0B9}"/>
              </a:ext>
            </a:extLst>
          </p:cNvPr>
          <p:cNvSpPr/>
          <p:nvPr/>
        </p:nvSpPr>
        <p:spPr>
          <a:xfrm>
            <a:off x="6717206" y="4946717"/>
            <a:ext cx="621437" cy="594804"/>
          </a:xfrm>
          <a:prstGeom prst="rightArrow">
            <a:avLst/>
          </a:prstGeom>
          <a:solidFill>
            <a:srgbClr val="C0000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C47149A-CADC-18A3-511D-82D398ABF91F}"/>
              </a:ext>
            </a:extLst>
          </p:cNvPr>
          <p:cNvCxnSpPr/>
          <p:nvPr/>
        </p:nvCxnSpPr>
        <p:spPr>
          <a:xfrm>
            <a:off x="363705" y="3991944"/>
            <a:ext cx="1146459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20802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034E7-BDD7-893D-7D4F-44BD26B1A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M in SEM: an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19D864-7850-2B85-19FD-C066FD6B828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63AD1A-C74D-4D55-3C39-78CA9076E5A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8319" y="1355409"/>
            <a:ext cx="5935747" cy="4740428"/>
          </a:xfrm>
        </p:spPr>
        <p:txBody>
          <a:bodyPr/>
          <a:lstStyle/>
          <a:p>
            <a:r>
              <a:rPr lang="en-US" dirty="0"/>
              <a:t>Scanning Transmission Electron Microscopy (STEM) in a Scanning Electron Microscope (SEM) works as follows:</a:t>
            </a:r>
          </a:p>
          <a:p>
            <a:pPr marL="342900" indent="-342900">
              <a:buAutoNum type="arabicPeriod"/>
            </a:pPr>
            <a:r>
              <a:rPr lang="en-US" dirty="0"/>
              <a:t>Requires electron transparent (TEM) samples (e.g. 50 – 200 nm thickness):</a:t>
            </a:r>
          </a:p>
          <a:p>
            <a:pPr marL="522900" lvl="1" indent="-342900">
              <a:buFont typeface="+mj-lt"/>
              <a:buAutoNum type="alphaLcParenR"/>
            </a:pPr>
            <a:r>
              <a:rPr lang="en-US" sz="1400" dirty="0"/>
              <a:t>Electropolished / broad ion beam thinned 3 mm TEM foils</a:t>
            </a:r>
          </a:p>
          <a:p>
            <a:pPr marL="522900" lvl="1" indent="-342900">
              <a:buFont typeface="+mj-lt"/>
              <a:buAutoNum type="alphaLcParenR"/>
            </a:pPr>
            <a:r>
              <a:rPr lang="en-US" sz="1400" dirty="0"/>
              <a:t>FIB-prepared TEM lamellae</a:t>
            </a:r>
          </a:p>
          <a:p>
            <a:pPr marL="522900" lvl="1" indent="-342900">
              <a:buFont typeface="+mj-lt"/>
              <a:buAutoNum type="alphaLcParenR"/>
            </a:pPr>
            <a:r>
              <a:rPr lang="en-US" sz="1400" dirty="0"/>
              <a:t>Nanoparticles on a TEM support grid</a:t>
            </a:r>
          </a:p>
          <a:p>
            <a:pPr marL="522900" lvl="1" indent="-342900">
              <a:buFont typeface="+mj-lt"/>
              <a:buAutoNum type="alphaLcParenR"/>
            </a:pPr>
            <a:r>
              <a:rPr lang="en-US" sz="1400" dirty="0" err="1"/>
              <a:t>Ultramicrotomed</a:t>
            </a:r>
            <a:r>
              <a:rPr lang="en-US" sz="1400" dirty="0"/>
              <a:t> sections on a TEM support grid</a:t>
            </a:r>
          </a:p>
          <a:p>
            <a:pPr marL="342900" indent="-342900">
              <a:buAutoNum type="arabicPeriod"/>
            </a:pPr>
            <a:r>
              <a:rPr lang="en-US" dirty="0"/>
              <a:t>Mount up to 12 samples in a dedicated STEM holder</a:t>
            </a:r>
          </a:p>
          <a:p>
            <a:pPr marL="342900" indent="-342900">
              <a:buAutoNum type="arabicPeriod"/>
            </a:pPr>
            <a:r>
              <a:rPr lang="en-US" dirty="0"/>
              <a:t>Use a side-mounted insertable STEM detector</a:t>
            </a:r>
          </a:p>
          <a:p>
            <a:pPr marL="342900" indent="-342900">
              <a:buAutoNum type="arabicPeriod"/>
            </a:pPr>
            <a:r>
              <a:rPr lang="en-US" dirty="0"/>
              <a:t>Position the TEM samples above the detector</a:t>
            </a:r>
          </a:p>
          <a:p>
            <a:pPr marL="342900" indent="-342900">
              <a:buAutoNum type="arabicPeriod"/>
            </a:pPr>
            <a:r>
              <a:rPr lang="en-US" dirty="0"/>
              <a:t>Image using the electron beam (usually at the maximum 30 kV beam energy / small aperture or low beam current)</a:t>
            </a:r>
          </a:p>
          <a:p>
            <a:pPr marL="342900" indent="-342900">
              <a:buAutoNum type="arabicPeriod"/>
            </a:pPr>
            <a:r>
              <a:rPr lang="en-US" dirty="0"/>
              <a:t>Imaging resolution down to &lt; 5 Å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53E299-F1C8-9B31-5173-277B7C43344B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849454A0-EBCC-4CD8-85B9-290E4583EC11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29071A-F6BD-2821-B1D1-78893594930A}"/>
              </a:ext>
            </a:extLst>
          </p:cNvPr>
          <p:cNvSpPr>
            <a:spLocks noGrp="1"/>
          </p:cNvSpPr>
          <p:nvPr>
            <p:ph type="ftr" sz="quarter" idx="65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67A279-7E9E-EEC7-8011-713E067220B7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2</a:t>
            </a:fld>
            <a:endParaRPr lang="en-US" noProof="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23BCD9C-DCFD-4CAB-4E91-FA56E33A96CD}"/>
              </a:ext>
            </a:extLst>
          </p:cNvPr>
          <p:cNvGrpSpPr/>
          <p:nvPr/>
        </p:nvGrpSpPr>
        <p:grpSpPr>
          <a:xfrm>
            <a:off x="6888445" y="1194748"/>
            <a:ext cx="4412373" cy="1877426"/>
            <a:chOff x="6888445" y="1194748"/>
            <a:chExt cx="4412373" cy="1877426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519EDEC-ED4D-0A98-BF7A-75A8072A9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856899" y="1194748"/>
              <a:ext cx="2443919" cy="1877426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928A7AE-A2FB-F170-18F1-B570E71A550C}"/>
                </a:ext>
              </a:extLst>
            </p:cNvPr>
            <p:cNvSpPr txBox="1"/>
            <p:nvPr/>
          </p:nvSpPr>
          <p:spPr>
            <a:xfrm>
              <a:off x="6888445" y="1263076"/>
              <a:ext cx="1534074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en-US" sz="120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12-sample STEM holder</a:t>
              </a:r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4EC48312-7C02-D7CE-C7F6-2C00E07C4DF3}"/>
                </a:ext>
              </a:extLst>
            </p:cNvPr>
            <p:cNvSpPr/>
            <p:nvPr/>
          </p:nvSpPr>
          <p:spPr>
            <a:xfrm rot="5400000">
              <a:off x="8570049" y="1263076"/>
              <a:ext cx="139319" cy="184666"/>
            </a:xfrm>
            <a:prstGeom prst="triangle">
              <a:avLst/>
            </a:prstGeom>
            <a:solidFill>
              <a:srgbClr val="C000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180000" rIns="180000" bIns="180000" rtlCol="0" anchor="t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2A8C347-B405-8F66-2158-A59FF0587480}"/>
              </a:ext>
            </a:extLst>
          </p:cNvPr>
          <p:cNvGrpSpPr/>
          <p:nvPr/>
        </p:nvGrpSpPr>
        <p:grpSpPr>
          <a:xfrm>
            <a:off x="6824900" y="2582804"/>
            <a:ext cx="4475918" cy="3975563"/>
            <a:chOff x="6824900" y="2582804"/>
            <a:chExt cx="4475918" cy="3975563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24896C6-4FE0-BBBF-734B-B1127B35A60E}"/>
                </a:ext>
              </a:extLst>
            </p:cNvPr>
            <p:cNvGrpSpPr/>
            <p:nvPr/>
          </p:nvGrpSpPr>
          <p:grpSpPr>
            <a:xfrm>
              <a:off x="6824900" y="2582804"/>
              <a:ext cx="4475918" cy="3975563"/>
              <a:chOff x="6824900" y="2582804"/>
              <a:chExt cx="4475918" cy="3975563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AE4CC5C5-3D28-5BB8-F87E-EEFA49A354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24900" y="3201429"/>
                <a:ext cx="4475918" cy="3356938"/>
              </a:xfrm>
              <a:prstGeom prst="rect">
                <a:avLst/>
              </a:prstGeom>
            </p:spPr>
          </p:pic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05AE63F1-648F-8663-21FD-A94276428121}"/>
                  </a:ext>
                </a:extLst>
              </p:cNvPr>
              <p:cNvSpPr txBox="1"/>
              <p:nvPr/>
            </p:nvSpPr>
            <p:spPr>
              <a:xfrm>
                <a:off x="6824900" y="2582804"/>
                <a:ext cx="206912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en-US" sz="1200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ZEISS Frutiger Next W1G"/>
                    <a:ea typeface="+mn-ea"/>
                    <a:cs typeface="+mn-cs"/>
                  </a:rPr>
                  <a:t>Chamberscope</a:t>
                </a:r>
                <a:r>
                  <a:rPr kumimoji="0" lang="en-US" sz="120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ZEISS Frutiger Next W1G"/>
                    <a:ea typeface="+mn-ea"/>
                    <a:cs typeface="+mn-cs"/>
                  </a:rPr>
                  <a:t> image with STEM detector inserted</a:t>
                </a:r>
              </a:p>
            </p:txBody>
          </p:sp>
          <p:sp>
            <p:nvSpPr>
              <p:cNvPr id="17" name="Isosceles Triangle 16">
                <a:extLst>
                  <a:ext uri="{FF2B5EF4-FFF2-40B4-BE49-F238E27FC236}">
                    <a16:creationId xmlns:a16="http://schemas.microsoft.com/office/drawing/2014/main" id="{A8B2EE0F-9FFD-A93F-BBCA-5728B67BEA40}"/>
                  </a:ext>
                </a:extLst>
              </p:cNvPr>
              <p:cNvSpPr/>
              <p:nvPr/>
            </p:nvSpPr>
            <p:spPr>
              <a:xfrm rot="10800000">
                <a:off x="6857395" y="2972507"/>
                <a:ext cx="139319" cy="184666"/>
              </a:xfrm>
              <a:prstGeom prst="triangle">
                <a:avLst/>
              </a:prstGeom>
              <a:solidFill>
                <a:srgbClr val="C00000"/>
              </a:solidFill>
              <a:ln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80000" tIns="180000" rIns="180000" bIns="180000" rtlCol="0" anchor="t" anchorCtr="0">
                <a:no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endParaRPr>
              </a:p>
            </p:txBody>
          </p:sp>
        </p:grp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5D99F95-5627-F015-5AE5-0018D4AEF5A6}"/>
                </a:ext>
              </a:extLst>
            </p:cNvPr>
            <p:cNvCxnSpPr/>
            <p:nvPr/>
          </p:nvCxnSpPr>
          <p:spPr>
            <a:xfrm>
              <a:off x="9206143" y="4083728"/>
              <a:ext cx="0" cy="683581"/>
            </a:xfrm>
            <a:prstGeom prst="line">
              <a:avLst/>
            </a:prstGeom>
            <a:ln w="28575">
              <a:solidFill>
                <a:srgbClr val="D9E9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C5A09A7D-62AC-792E-C123-74811B8F7F66}"/>
              </a:ext>
            </a:extLst>
          </p:cNvPr>
          <p:cNvSpPr/>
          <p:nvPr/>
        </p:nvSpPr>
        <p:spPr>
          <a:xfrm>
            <a:off x="8780409" y="4208814"/>
            <a:ext cx="349242" cy="216704"/>
          </a:xfrm>
          <a:prstGeom prst="rightArrow">
            <a:avLst/>
          </a:prstGeom>
          <a:solidFill>
            <a:srgbClr val="FF000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0596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64138-74E3-E999-A701-CFE6B08862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M in SEM Imaging Versat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0F2FB5-CAD4-60F6-0D6E-B203DF80F7C0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dirty="0"/>
              <a:t>Nanocrystalline, deformed Al 6060 allo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88D1A3-0F87-9D30-C458-BCFB492E96F2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4A3F1E-8D8B-3F30-A8D9-505061F52DE6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9282F-6700-9CF3-2E8B-142A83DC4061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3</a:t>
            </a:fld>
            <a:endParaRPr lang="en-US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40C5208-90EA-5450-F616-89264D6ED6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320" y="1114281"/>
            <a:ext cx="3595456" cy="269659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AE16E07-EA98-2E5D-D077-EEF1DE4A96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9537" y="2539527"/>
            <a:ext cx="925018" cy="94623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8DBF878-B42E-1F26-9885-3142AB1D34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17386" y="1248367"/>
            <a:ext cx="3309564" cy="421139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99C0DD01-47F5-BAFD-4A10-399E8D7194EC}"/>
              </a:ext>
            </a:extLst>
          </p:cNvPr>
          <p:cNvSpPr txBox="1"/>
          <p:nvPr/>
        </p:nvSpPr>
        <p:spPr>
          <a:xfrm>
            <a:off x="3213046" y="1165764"/>
            <a:ext cx="804241" cy="257369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txBody>
          <a:bodyPr wrap="none" lIns="72000" tIns="36000" rIns="72000" bIns="3600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Brightfiel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562897D-DF96-1C83-9023-2AB61176245D}"/>
              </a:ext>
            </a:extLst>
          </p:cNvPr>
          <p:cNvGrpSpPr/>
          <p:nvPr/>
        </p:nvGrpSpPr>
        <p:grpSpPr>
          <a:xfrm>
            <a:off x="4410667" y="1114281"/>
            <a:ext cx="3595456" cy="2696592"/>
            <a:chOff x="4410667" y="1114281"/>
            <a:chExt cx="3595456" cy="269659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0B94A31-FAE3-3C9C-8693-5DF0B1A817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10667" y="1114281"/>
              <a:ext cx="3595456" cy="2696592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230106F8-04DB-2F01-4F48-3CA94602A2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7754" y="2546754"/>
              <a:ext cx="925018" cy="946234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FC66F66-D764-BFDA-C305-3ECECD7AB366}"/>
                </a:ext>
              </a:extLst>
            </p:cNvPr>
            <p:cNvSpPr txBox="1"/>
            <p:nvPr/>
          </p:nvSpPr>
          <p:spPr>
            <a:xfrm>
              <a:off x="7225093" y="1165764"/>
              <a:ext cx="717679" cy="25736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0000"/>
              </a:solidFill>
            </a:ln>
          </p:spPr>
          <p:txBody>
            <a:bodyPr wrap="none" lIns="72000" tIns="36000" rIns="72000" bIns="3600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Darkfield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7A0B41C-3982-2BD0-8201-674AD978FBF0}"/>
              </a:ext>
            </a:extLst>
          </p:cNvPr>
          <p:cNvGrpSpPr/>
          <p:nvPr/>
        </p:nvGrpSpPr>
        <p:grpSpPr>
          <a:xfrm>
            <a:off x="518319" y="3912967"/>
            <a:ext cx="3595456" cy="2696592"/>
            <a:chOff x="518319" y="3912967"/>
            <a:chExt cx="3595456" cy="269659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4AC87EF-41A0-9D66-5B35-FC8A3F5727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8319" y="3912967"/>
              <a:ext cx="3595456" cy="2696592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CA90775C-7F8C-4411-FB40-757FFD772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9537" y="5352862"/>
              <a:ext cx="925018" cy="946234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755C049-65B5-DE7B-D087-760F22AC658C}"/>
                </a:ext>
              </a:extLst>
            </p:cNvPr>
            <p:cNvSpPr txBox="1"/>
            <p:nvPr/>
          </p:nvSpPr>
          <p:spPr>
            <a:xfrm>
              <a:off x="3250475" y="3949542"/>
              <a:ext cx="804240" cy="4420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0000"/>
              </a:solidFill>
            </a:ln>
          </p:spPr>
          <p:txBody>
            <a:bodyPr wrap="square" lIns="72000" tIns="36000" rIns="72000" bIns="3600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Oriented darkfield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8FD631A-1829-2CFA-B73B-16F4ED59FCFB}"/>
              </a:ext>
            </a:extLst>
          </p:cNvPr>
          <p:cNvGrpSpPr/>
          <p:nvPr/>
        </p:nvGrpSpPr>
        <p:grpSpPr>
          <a:xfrm>
            <a:off x="4410667" y="3912967"/>
            <a:ext cx="3595456" cy="2696592"/>
            <a:chOff x="4410667" y="3912967"/>
            <a:chExt cx="3595456" cy="2696592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740265C-9575-83E2-E002-B560F2E3A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10667" y="3912967"/>
              <a:ext cx="3595456" cy="2696592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203E1F81-1808-AB48-A013-43FE3A2C65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7754" y="5352862"/>
              <a:ext cx="925018" cy="946234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2A7CF42-B8BA-73A2-F958-6E36A9FDF9F8}"/>
                </a:ext>
              </a:extLst>
            </p:cNvPr>
            <p:cNvSpPr txBox="1"/>
            <p:nvPr/>
          </p:nvSpPr>
          <p:spPr>
            <a:xfrm>
              <a:off x="7105394" y="3949542"/>
              <a:ext cx="837378" cy="62670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0000"/>
              </a:solidFill>
            </a:ln>
          </p:spPr>
          <p:txBody>
            <a:bodyPr wrap="square" lIns="72000" tIns="36000" rIns="72000" bIns="3600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High angle annular darkfield</a:t>
              </a: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3CAAA205-6247-59B3-7D3D-E78C8348E3C0}"/>
              </a:ext>
            </a:extLst>
          </p:cNvPr>
          <p:cNvSpPr txBox="1"/>
          <p:nvPr/>
        </p:nvSpPr>
        <p:spPr>
          <a:xfrm>
            <a:off x="8232681" y="5912036"/>
            <a:ext cx="359545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30 kV images collected simultaneously from an electropolished TEM foil using the ZEISS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GeminiSEM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 360</a:t>
            </a:r>
          </a:p>
        </p:txBody>
      </p:sp>
    </p:spTree>
    <p:extLst>
      <p:ext uri="{BB962C8B-B14F-4D97-AF65-F5344CB8AC3E}">
        <p14:creationId xmlns:p14="http://schemas.microsoft.com/office/powerpoint/2010/main" val="1892624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551BE-D02D-D2FA-A7EF-45512C438B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M in SEM Imaging Versat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BDA461-AFBB-27F3-39C0-0BFE64B7B014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GB" dirty="0" err="1"/>
              <a:t>GaN</a:t>
            </a:r>
            <a:r>
              <a:rPr lang="en-GB" dirty="0"/>
              <a:t> high electron mobility transistor (HEMT)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787B34-FA2B-AA6C-C199-5AF958324F43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EA56CF-57BE-BEC3-5A07-F293B5C9543A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64B2F4-8D19-43F8-0FC1-53299DD60039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43A6D3-B18A-A711-95A8-0234AEBBC7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260" y="1279689"/>
            <a:ext cx="6753758" cy="506471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0BCFA60-DC62-3100-F225-7AB079526C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195" y="2717481"/>
            <a:ext cx="849610" cy="86909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96AFFBF-A3A5-68CD-6907-99E1D4ECD9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195" y="5439335"/>
            <a:ext cx="849610" cy="86909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B810B58-A5E6-5204-A0BD-DD74AF4EB7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550" y="5430000"/>
            <a:ext cx="849610" cy="86909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08A27CD-FF9B-7A8E-47FA-244871AA4D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9550" y="2717479"/>
            <a:ext cx="849610" cy="86909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5CC7766-3C87-DDDD-4DAC-A16729DBD906}"/>
              </a:ext>
            </a:extLst>
          </p:cNvPr>
          <p:cNvSpPr txBox="1"/>
          <p:nvPr/>
        </p:nvSpPr>
        <p:spPr>
          <a:xfrm>
            <a:off x="7843953" y="5698069"/>
            <a:ext cx="359545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30 kV images collected simultaneously using “Quad mode” from a backside-thinned FIB lamella</a:t>
            </a:r>
          </a:p>
        </p:txBody>
      </p:sp>
    </p:spTree>
    <p:extLst>
      <p:ext uri="{BB962C8B-B14F-4D97-AF65-F5344CB8AC3E}">
        <p14:creationId xmlns:p14="http://schemas.microsoft.com/office/powerpoint/2010/main" val="36674637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6643DD-7416-D140-711F-29D0B91152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4213" y="1939494"/>
            <a:ext cx="8663775" cy="1962150"/>
          </a:xfrm>
        </p:spPr>
        <p:txBody>
          <a:bodyPr/>
          <a:lstStyle/>
          <a:p>
            <a:pPr algn="ctr"/>
            <a:r>
              <a:rPr lang="en-US" dirty="0"/>
              <a:t>Al 6060 Alloy</a:t>
            </a:r>
            <a:br>
              <a:rPr lang="en-US" dirty="0"/>
            </a:br>
            <a:r>
              <a:rPr lang="en-US" sz="1800" dirty="0"/>
              <a:t>High Pressure Torsion – deformed Al 6060</a:t>
            </a:r>
            <a:br>
              <a:rPr lang="en-US" sz="1800" dirty="0"/>
            </a:br>
            <a:r>
              <a:rPr lang="en-US" sz="1800" dirty="0">
                <a:latin typeface="+mn-lt"/>
              </a:rPr>
              <a:t>Sample courtesy of Kaan </a:t>
            </a:r>
            <a:r>
              <a:rPr lang="en-US" sz="1800" dirty="0" err="1">
                <a:latin typeface="+mn-lt"/>
              </a:rPr>
              <a:t>Tugcu</a:t>
            </a:r>
            <a:r>
              <a:rPr lang="en-US" sz="1800" dirty="0">
                <a:latin typeface="+mn-lt"/>
              </a:rPr>
              <a:t>, University of Sydney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65946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327E523A-2CF0-55C1-14C6-9D8E913E2B24}"/>
              </a:ext>
            </a:extLst>
          </p:cNvPr>
          <p:cNvPicPr>
            <a:picLocks noGrp="1" noChangeAspect="1"/>
          </p:cNvPicPr>
          <p:nvPr>
            <p:ph type="pic" sz="quarter" idx="5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93" t="4767" r="24841" b="30080"/>
          <a:stretch>
            <a:fillRect/>
          </a:stretch>
        </p:blipFill>
        <p:spPr>
          <a:xfrm>
            <a:off x="519113" y="1617663"/>
            <a:ext cx="5432425" cy="446405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FD96F9F-9942-BEAD-20A3-5F85C9107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nocrystalline Al allo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DC68C7-CA92-04F9-A688-F05D2F8CFF1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dirty="0"/>
              <a:t>Images show the same area in SEM and TEM!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9142800-F64D-AA7A-5205-ADBFF636C1F1}"/>
              </a:ext>
            </a:extLst>
          </p:cNvPr>
          <p:cNvSpPr>
            <a:spLocks noGrp="1"/>
          </p:cNvSpPr>
          <p:nvPr>
            <p:ph type="dt" sz="half" idx="66"/>
          </p:nvPr>
        </p:nvSpPr>
        <p:spPr/>
        <p:txBody>
          <a:bodyPr/>
          <a:lstStyle/>
          <a:p>
            <a:fld id="{6E357122-83A9-43E6-B26E-A6B59204C375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832ACF-5834-0A8F-A6CA-BB8150275260}"/>
              </a:ext>
            </a:extLst>
          </p:cNvPr>
          <p:cNvSpPr>
            <a:spLocks noGrp="1"/>
          </p:cNvSpPr>
          <p:nvPr>
            <p:ph type="ftr" sz="quarter" idx="67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E2138A2-5ECB-6B4E-75E7-39CD0D350035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6</a:t>
            </a:fld>
            <a:endParaRPr lang="en-US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DAAC2B7-5E83-58D9-79A9-98272FB8B4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8000" contrast="2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425" t="3485" r="12021" b="11534"/>
          <a:stretch>
            <a:fillRect/>
          </a:stretch>
        </p:blipFill>
        <p:spPr>
          <a:xfrm>
            <a:off x="6240880" y="1617663"/>
            <a:ext cx="5432007" cy="446405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BC6D18F-E8D2-1FCE-82C3-C99B46770654}"/>
              </a:ext>
            </a:extLst>
          </p:cNvPr>
          <p:cNvSpPr/>
          <p:nvPr/>
        </p:nvSpPr>
        <p:spPr>
          <a:xfrm>
            <a:off x="4952943" y="5773783"/>
            <a:ext cx="870857" cy="13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3BAFCF2-ADAF-B0A4-97CB-7BB01E837BAE}"/>
              </a:ext>
            </a:extLst>
          </p:cNvPr>
          <p:cNvSpPr/>
          <p:nvPr/>
        </p:nvSpPr>
        <p:spPr>
          <a:xfrm>
            <a:off x="10636043" y="5773783"/>
            <a:ext cx="870857" cy="13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EF3D692-7C00-6EAE-BD4E-6C8EA9FA61A1}"/>
              </a:ext>
            </a:extLst>
          </p:cNvPr>
          <p:cNvSpPr txBox="1"/>
          <p:nvPr/>
        </p:nvSpPr>
        <p:spPr>
          <a:xfrm>
            <a:off x="5027695" y="5527562"/>
            <a:ext cx="72135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200 n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79D0FBA-868A-3DE3-75F4-2CFB23B8C389}"/>
              </a:ext>
            </a:extLst>
          </p:cNvPr>
          <p:cNvSpPr txBox="1"/>
          <p:nvPr/>
        </p:nvSpPr>
        <p:spPr>
          <a:xfrm>
            <a:off x="10675243" y="5527562"/>
            <a:ext cx="72135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200 nm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0CFA8A2-8008-F2B3-2F72-AB18F7284676}"/>
              </a:ext>
            </a:extLst>
          </p:cNvPr>
          <p:cNvGrpSpPr/>
          <p:nvPr/>
        </p:nvGrpSpPr>
        <p:grpSpPr>
          <a:xfrm>
            <a:off x="2647373" y="5703325"/>
            <a:ext cx="7142845" cy="810478"/>
            <a:chOff x="2647373" y="5703325"/>
            <a:chExt cx="7142845" cy="81047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5CAD678-9E8F-1286-6EA8-E50AD305D955}"/>
                </a:ext>
              </a:extLst>
            </p:cNvPr>
            <p:cNvSpPr txBox="1"/>
            <p:nvPr/>
          </p:nvSpPr>
          <p:spPr>
            <a:xfrm>
              <a:off x="2647373" y="5759496"/>
              <a:ext cx="998204" cy="4924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72000" tIns="0" rIns="7200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TEM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93BA4C3-C6EA-9961-B136-C504A8B8BB12}"/>
                </a:ext>
              </a:extLst>
            </p:cNvPr>
            <p:cNvSpPr txBox="1"/>
            <p:nvPr/>
          </p:nvSpPr>
          <p:spPr>
            <a:xfrm>
              <a:off x="8309510" y="5703325"/>
              <a:ext cx="1480708" cy="8104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72000" tIns="0" rIns="7200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SEM</a:t>
              </a:r>
            </a:p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en-US" sz="1400" b="1" dirty="0">
                  <a:solidFill>
                    <a:srgbClr val="000000"/>
                  </a:solidFill>
                  <a:latin typeface="ZEISS Frutiger Next W1G"/>
                </a:rPr>
                <a:t>Zeiss Sigma 560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FE1DC9E4-F24C-C7E3-9020-B1698674E8D7}"/>
              </a:ext>
            </a:extLst>
          </p:cNvPr>
          <p:cNvSpPr txBox="1"/>
          <p:nvPr/>
        </p:nvSpPr>
        <p:spPr>
          <a:xfrm>
            <a:off x="266330" y="6359660"/>
            <a:ext cx="646294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200" i="1" dirty="0"/>
              <a:t>Thanks to Natalie Allcock (University of Leicester) for the TEM imaging</a:t>
            </a:r>
          </a:p>
        </p:txBody>
      </p:sp>
    </p:spTree>
    <p:extLst>
      <p:ext uri="{BB962C8B-B14F-4D97-AF65-F5344CB8AC3E}">
        <p14:creationId xmlns:p14="http://schemas.microsoft.com/office/powerpoint/2010/main" val="4087027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423B2A-3B4C-B989-B10A-2DB303CD18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750A3-AD3B-263A-6B7C-66A32AD4D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112" y="1939494"/>
            <a:ext cx="8663775" cy="1962150"/>
          </a:xfrm>
        </p:spPr>
        <p:txBody>
          <a:bodyPr/>
          <a:lstStyle/>
          <a:p>
            <a:pPr algn="ctr"/>
            <a:r>
              <a:rPr lang="en-US" dirty="0"/>
              <a:t>Erythroblast Cells</a:t>
            </a:r>
            <a:br>
              <a:rPr lang="en-US" dirty="0"/>
            </a:b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 Heavy"/>
                <a:ea typeface="+mj-ea"/>
              </a:rPr>
              <a:t>Microtome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 Heavy"/>
                <a:ea typeface="+mj-ea"/>
              </a:rPr>
              <a:t> sections on TEM support grid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 Heavy"/>
                <a:ea typeface="+mj-ea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j-ea"/>
              </a:rPr>
              <a:t>Sample courtesy of Dr. Errin Johnson, Oxford University / University of Sydne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6385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81703D-BE15-4E08-B299-D49F0FAB0F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91127537-550A-B35D-36D6-E6FBE5B18BC6}"/>
              </a:ext>
            </a:extLst>
          </p:cNvPr>
          <p:cNvPicPr>
            <a:picLocks noGrp="1" noChangeAspect="1"/>
          </p:cNvPicPr>
          <p:nvPr>
            <p:ph type="pic" sz="quarter" idx="5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6" t="1898" r="5913" b="5452"/>
          <a:stretch>
            <a:fillRect/>
          </a:stretch>
        </p:blipFill>
        <p:spPr>
          <a:xfrm>
            <a:off x="519113" y="1617663"/>
            <a:ext cx="5432425" cy="446405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12F6635-ADC4-282D-A316-D18868FBD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ythroblast Cel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F990B4-1D2B-03D4-4E1F-FE25E7A64583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dirty="0"/>
              <a:t>Identical cell section imaged in SEM and TE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5EEF6F5-1638-C861-B3AB-27B71CD1195A}"/>
              </a:ext>
            </a:extLst>
          </p:cNvPr>
          <p:cNvSpPr>
            <a:spLocks noGrp="1"/>
          </p:cNvSpPr>
          <p:nvPr>
            <p:ph type="dt" sz="half" idx="66"/>
          </p:nvPr>
        </p:nvSpPr>
        <p:spPr/>
        <p:txBody>
          <a:bodyPr/>
          <a:lstStyle/>
          <a:p>
            <a:fld id="{6E357122-83A9-43E6-B26E-A6B59204C375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22F50F-D97A-8C28-E3ED-156338015005}"/>
              </a:ext>
            </a:extLst>
          </p:cNvPr>
          <p:cNvSpPr>
            <a:spLocks noGrp="1"/>
          </p:cNvSpPr>
          <p:nvPr>
            <p:ph type="ftr" sz="quarter" idx="67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5A550C3-9540-3F52-9B29-1151023C9A3C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8</a:t>
            </a:fld>
            <a:endParaRPr lang="en-US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6327A3-62CB-AC7C-B2C9-CD924C4DF7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t="4009" r="1061" b="5334"/>
          <a:stretch>
            <a:fillRect/>
          </a:stretch>
        </p:blipFill>
        <p:spPr>
          <a:xfrm>
            <a:off x="6240880" y="1617663"/>
            <a:ext cx="5432007" cy="446405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8709A472-F14F-44EE-46E7-7EB6771AD095}"/>
              </a:ext>
            </a:extLst>
          </p:cNvPr>
          <p:cNvGrpSpPr/>
          <p:nvPr/>
        </p:nvGrpSpPr>
        <p:grpSpPr>
          <a:xfrm>
            <a:off x="2406121" y="5528668"/>
            <a:ext cx="7235561" cy="810478"/>
            <a:chOff x="2406121" y="5528668"/>
            <a:chExt cx="7235561" cy="810478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229FAB4-6ED8-C837-F71F-AA295A6B8C37}"/>
                </a:ext>
              </a:extLst>
            </p:cNvPr>
            <p:cNvSpPr txBox="1"/>
            <p:nvPr/>
          </p:nvSpPr>
          <p:spPr>
            <a:xfrm>
              <a:off x="2406121" y="5528668"/>
              <a:ext cx="1480707" cy="8104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72000" tIns="0" rIns="72000" bIns="0" rtlCol="0">
              <a:spAutoFit/>
            </a:bodyPr>
            <a:lstStyle/>
            <a:p>
              <a:pPr algn="ctr">
                <a:spcAft>
                  <a:spcPts val="800"/>
                </a:spcAft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SEM</a:t>
              </a:r>
              <a:endParaRPr lang="en-US" sz="1400" b="1" dirty="0">
                <a:solidFill>
                  <a:srgbClr val="000000"/>
                </a:solidFill>
              </a:endParaRPr>
            </a:p>
            <a:p>
              <a:pPr algn="ctr">
                <a:spcAft>
                  <a:spcPts val="800"/>
                </a:spcAft>
              </a:pPr>
              <a:r>
                <a:rPr lang="en-US" sz="1400" b="1" dirty="0">
                  <a:solidFill>
                    <a:srgbClr val="000000"/>
                  </a:solidFill>
                </a:rPr>
                <a:t>Zeiss Sigma 560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E463E25-C0DA-5E55-CF8C-E464D6E00637}"/>
                </a:ext>
              </a:extLst>
            </p:cNvPr>
            <p:cNvSpPr txBox="1"/>
            <p:nvPr/>
          </p:nvSpPr>
          <p:spPr>
            <a:xfrm>
              <a:off x="8643478" y="5626325"/>
              <a:ext cx="998204" cy="4924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72000" tIns="0" rIns="7200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TEM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919BE1B7-936D-3AFF-C1FA-B6E4A75C33D6}"/>
              </a:ext>
            </a:extLst>
          </p:cNvPr>
          <p:cNvSpPr/>
          <p:nvPr/>
        </p:nvSpPr>
        <p:spPr>
          <a:xfrm>
            <a:off x="5006096" y="5773783"/>
            <a:ext cx="758954" cy="1362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5A731C-FC89-E5B0-CAC4-63FB6D197D33}"/>
              </a:ext>
            </a:extLst>
          </p:cNvPr>
          <p:cNvSpPr txBox="1"/>
          <p:nvPr/>
        </p:nvSpPr>
        <p:spPr>
          <a:xfrm>
            <a:off x="5145924" y="5513274"/>
            <a:ext cx="4792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2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ymbol" panose="05050102010706020507" pitchFamily="18" charset="2"/>
              </a:rPr>
              <a:t>m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m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C3FB534-4749-0807-0BE6-87775849DB48}"/>
              </a:ext>
            </a:extLst>
          </p:cNvPr>
          <p:cNvSpPr/>
          <p:nvPr/>
        </p:nvSpPr>
        <p:spPr>
          <a:xfrm>
            <a:off x="10797761" y="5773783"/>
            <a:ext cx="758954" cy="1362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B6C662B-F184-0ED3-3789-30AFC7D17661}"/>
              </a:ext>
            </a:extLst>
          </p:cNvPr>
          <p:cNvSpPr txBox="1"/>
          <p:nvPr/>
        </p:nvSpPr>
        <p:spPr>
          <a:xfrm>
            <a:off x="10937589" y="5513274"/>
            <a:ext cx="4792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2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ymbol" panose="05050102010706020507" pitchFamily="18" charset="2"/>
              </a:rPr>
              <a:t>m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m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8B5947D-E9D2-9349-B597-411F2643BC8C}"/>
              </a:ext>
            </a:extLst>
          </p:cNvPr>
          <p:cNvGrpSpPr/>
          <p:nvPr/>
        </p:nvGrpSpPr>
        <p:grpSpPr>
          <a:xfrm>
            <a:off x="1300480" y="1305847"/>
            <a:ext cx="4795729" cy="2280633"/>
            <a:chOff x="1300480" y="1305847"/>
            <a:chExt cx="4795729" cy="2280633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FAC5429-C88A-B8C8-076F-D854A563E7F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895374" y="1305847"/>
              <a:ext cx="2200835" cy="2200835"/>
            </a:xfrm>
            <a:prstGeom prst="rect">
              <a:avLst/>
            </a:prstGeom>
            <a:ln w="28575">
              <a:solidFill>
                <a:srgbClr val="FF0000"/>
              </a:solidFill>
            </a:ln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A30BC1D-2B58-8EAD-8495-4CF13C0EA17F}"/>
                </a:ext>
              </a:extLst>
            </p:cNvPr>
            <p:cNvSpPr/>
            <p:nvPr/>
          </p:nvSpPr>
          <p:spPr>
            <a:xfrm>
              <a:off x="1300480" y="3037840"/>
              <a:ext cx="548640" cy="54864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180000" rIns="180000" bIns="180000" rtlCol="0" anchor="t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C81D0EE-12FE-9D25-0DD2-3DE3CF2905FC}"/>
                </a:ext>
              </a:extLst>
            </p:cNvPr>
            <p:cNvCxnSpPr/>
            <p:nvPr/>
          </p:nvCxnSpPr>
          <p:spPr>
            <a:xfrm flipV="1">
              <a:off x="1300480" y="1305847"/>
              <a:ext cx="2594894" cy="17319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6F92C20-C47E-64DA-ACD1-9C24FE4943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49120" y="3506682"/>
              <a:ext cx="4246880" cy="762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74E41A6-E268-8FFC-830D-9EF6C0A34344}"/>
              </a:ext>
            </a:extLst>
          </p:cNvPr>
          <p:cNvGrpSpPr/>
          <p:nvPr/>
        </p:nvGrpSpPr>
        <p:grpSpPr>
          <a:xfrm>
            <a:off x="7032467" y="1305847"/>
            <a:ext cx="4929762" cy="2231315"/>
            <a:chOff x="7032467" y="1305847"/>
            <a:chExt cx="4929762" cy="2231315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03B480C5-727B-9565-9FAC-18B518C50AD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761394" y="1305847"/>
              <a:ext cx="2200835" cy="2200835"/>
            </a:xfrm>
            <a:prstGeom prst="rect">
              <a:avLst/>
            </a:prstGeom>
            <a:ln w="28575">
              <a:solidFill>
                <a:srgbClr val="FF0000"/>
              </a:solidFill>
            </a:ln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8B270A4-2A46-1DAE-489D-41DFB001AE16}"/>
                </a:ext>
              </a:extLst>
            </p:cNvPr>
            <p:cNvSpPr/>
            <p:nvPr/>
          </p:nvSpPr>
          <p:spPr>
            <a:xfrm>
              <a:off x="7032467" y="2988522"/>
              <a:ext cx="548640" cy="54864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180000" rIns="180000" bIns="180000" rtlCol="0" anchor="t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CF18F163-F734-E5E9-FCEC-DF5F2D745BD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32467" y="1305847"/>
              <a:ext cx="2728927" cy="166827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087C0CDE-AF6E-D85A-C86B-17B9CD532B50}"/>
                </a:ext>
              </a:extLst>
            </p:cNvPr>
            <p:cNvCxnSpPr>
              <a:cxnSpLocks/>
            </p:cNvCxnSpPr>
            <p:nvPr/>
          </p:nvCxnSpPr>
          <p:spPr>
            <a:xfrm>
              <a:off x="7581107" y="3500811"/>
              <a:ext cx="4381122" cy="2027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E538E57-6284-A27C-2C56-EFAA8EAD2C30}"/>
              </a:ext>
            </a:extLst>
          </p:cNvPr>
          <p:cNvSpPr txBox="1"/>
          <p:nvPr/>
        </p:nvSpPr>
        <p:spPr>
          <a:xfrm>
            <a:off x="266330" y="6359660"/>
            <a:ext cx="646294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200" i="1" dirty="0"/>
              <a:t>Thanks to Natalie Allcock (University of Leicester) for the TEM imaging</a:t>
            </a:r>
          </a:p>
        </p:txBody>
      </p:sp>
    </p:spTree>
    <p:extLst>
      <p:ext uri="{BB962C8B-B14F-4D97-AF65-F5344CB8AC3E}">
        <p14:creationId xmlns:p14="http://schemas.microsoft.com/office/powerpoint/2010/main" val="2286004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930F7E-ACEA-7DA6-CDDE-4A848935A3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532FBBD7-B4B6-E2CB-B8B6-A1619A905DAD}"/>
              </a:ext>
            </a:extLst>
          </p:cNvPr>
          <p:cNvPicPr>
            <a:picLocks noGrp="1" noChangeAspect="1"/>
          </p:cNvPicPr>
          <p:nvPr>
            <p:ph type="pic" sz="quarter" idx="5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94" r="3843" b="11951"/>
          <a:stretch>
            <a:fillRect/>
          </a:stretch>
        </p:blipFill>
        <p:spPr>
          <a:xfrm>
            <a:off x="519113" y="1617663"/>
            <a:ext cx="5432425" cy="446405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4D75A54-100A-8ADE-6B46-46A891A41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ythroblast Cel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EB0C33-F318-014D-6B7A-6AFBA613B5EF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dirty="0"/>
              <a:t>Identical area imaged in SEM and TE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5671677-CE22-2F03-70C3-C449E3CFD87E}"/>
              </a:ext>
            </a:extLst>
          </p:cNvPr>
          <p:cNvSpPr>
            <a:spLocks noGrp="1"/>
          </p:cNvSpPr>
          <p:nvPr>
            <p:ph type="dt" sz="half" idx="66"/>
          </p:nvPr>
        </p:nvSpPr>
        <p:spPr/>
        <p:txBody>
          <a:bodyPr/>
          <a:lstStyle/>
          <a:p>
            <a:fld id="{6E357122-83A9-43E6-B26E-A6B59204C375}" type="datetime3">
              <a:rPr lang="en-US" noProof="0" smtClean="0"/>
              <a:t>20 April 2026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D434CB9-A379-427A-F90B-962CFE167DE2}"/>
              </a:ext>
            </a:extLst>
          </p:cNvPr>
          <p:cNvSpPr>
            <a:spLocks noGrp="1"/>
          </p:cNvSpPr>
          <p:nvPr>
            <p:ph type="ftr" sz="quarter" idx="67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D03C31E-7CFA-A455-9204-ED3A7A9712A7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9</a:t>
            </a:fld>
            <a:endParaRPr lang="en-US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AEB080C-8212-FA5B-9584-51315DF68B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b="5557"/>
          <a:stretch>
            <a:fillRect/>
          </a:stretch>
        </p:blipFill>
        <p:spPr>
          <a:xfrm>
            <a:off x="6240467" y="1617663"/>
            <a:ext cx="5432007" cy="4464049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53655127-6213-556D-CA34-796D9CE632CB}"/>
              </a:ext>
            </a:extLst>
          </p:cNvPr>
          <p:cNvGrpSpPr/>
          <p:nvPr/>
        </p:nvGrpSpPr>
        <p:grpSpPr>
          <a:xfrm>
            <a:off x="2406121" y="5519790"/>
            <a:ext cx="7235561" cy="810478"/>
            <a:chOff x="2406121" y="5519790"/>
            <a:chExt cx="7235561" cy="810478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35862B5-6B5C-CAF0-5148-F312ECFACF08}"/>
                </a:ext>
              </a:extLst>
            </p:cNvPr>
            <p:cNvSpPr txBox="1"/>
            <p:nvPr/>
          </p:nvSpPr>
          <p:spPr>
            <a:xfrm>
              <a:off x="2406121" y="5519790"/>
              <a:ext cx="1480707" cy="8104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72000" tIns="0" rIns="72000" bIns="0" rtlCol="0">
              <a:spAutoFit/>
            </a:bodyPr>
            <a:lstStyle/>
            <a:p>
              <a:pPr algn="ctr">
                <a:spcAft>
                  <a:spcPts val="800"/>
                </a:spcAft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SEM</a:t>
              </a:r>
              <a:endParaRPr lang="en-US" sz="1400" b="1" dirty="0">
                <a:solidFill>
                  <a:srgbClr val="000000"/>
                </a:solidFill>
              </a:endParaRPr>
            </a:p>
            <a:p>
              <a:pPr algn="ctr">
                <a:spcAft>
                  <a:spcPts val="800"/>
                </a:spcAft>
              </a:pPr>
              <a:r>
                <a:rPr lang="en-US" sz="1400" b="1" dirty="0">
                  <a:solidFill>
                    <a:srgbClr val="000000"/>
                  </a:solidFill>
                </a:rPr>
                <a:t>Zeiss Sigma 560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0A8A735-EF9C-B8A3-6956-63CC264D2484}"/>
                </a:ext>
              </a:extLst>
            </p:cNvPr>
            <p:cNvSpPr txBox="1"/>
            <p:nvPr/>
          </p:nvSpPr>
          <p:spPr>
            <a:xfrm>
              <a:off x="8643478" y="5617447"/>
              <a:ext cx="998204" cy="4924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72000" tIns="0" rIns="7200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TEM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6168A88A-3EAC-8246-BAAA-801DF50D11AA}"/>
              </a:ext>
            </a:extLst>
          </p:cNvPr>
          <p:cNvSpPr/>
          <p:nvPr/>
        </p:nvSpPr>
        <p:spPr>
          <a:xfrm>
            <a:off x="750141" y="5773783"/>
            <a:ext cx="515114" cy="1152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E8346C-396C-9015-4E32-0BE140EF0859}"/>
              </a:ext>
            </a:extLst>
          </p:cNvPr>
          <p:cNvSpPr txBox="1"/>
          <p:nvPr/>
        </p:nvSpPr>
        <p:spPr>
          <a:xfrm>
            <a:off x="683876" y="5513274"/>
            <a:ext cx="72135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200 nm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1D2EE0-C8F0-2927-641C-867F02921EB2}"/>
              </a:ext>
            </a:extLst>
          </p:cNvPr>
          <p:cNvSpPr/>
          <p:nvPr/>
        </p:nvSpPr>
        <p:spPr>
          <a:xfrm>
            <a:off x="6449432" y="5788071"/>
            <a:ext cx="515114" cy="1152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C02BE5-F150-41D1-B673-9E4E03DAFEB1}"/>
              </a:ext>
            </a:extLst>
          </p:cNvPr>
          <p:cNvSpPr txBox="1"/>
          <p:nvPr/>
        </p:nvSpPr>
        <p:spPr>
          <a:xfrm>
            <a:off x="6383167" y="5527562"/>
            <a:ext cx="72135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200 n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6CBFE7-0CD7-36DA-2DAE-3B4E93F96DBC}"/>
              </a:ext>
            </a:extLst>
          </p:cNvPr>
          <p:cNvSpPr txBox="1"/>
          <p:nvPr/>
        </p:nvSpPr>
        <p:spPr>
          <a:xfrm>
            <a:off x="266330" y="6359660"/>
            <a:ext cx="646294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200" i="1" dirty="0"/>
              <a:t>Thanks to Natalie Allcock (University of Leicester) for the TEM imaging</a:t>
            </a:r>
          </a:p>
        </p:txBody>
      </p:sp>
    </p:spTree>
    <p:extLst>
      <p:ext uri="{BB962C8B-B14F-4D97-AF65-F5344CB8AC3E}">
        <p14:creationId xmlns:p14="http://schemas.microsoft.com/office/powerpoint/2010/main" val="3162841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EE4P_STYLE_ID" val="62121713-4935-4c8b-a81e-9e6278b8e607"/>
</p:tagLst>
</file>

<file path=ppt/theme/theme1.xml><?xml version="1.0" encoding="utf-8"?>
<a:theme xmlns:a="http://schemas.openxmlformats.org/drawingml/2006/main" name="ZEISS Presentation Master">
  <a:themeElements>
    <a:clrScheme name="ZEIS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2EF"/>
      </a:accent1>
      <a:accent2>
        <a:srgbClr val="4895DD"/>
      </a:accent2>
      <a:accent3>
        <a:srgbClr val="6AB0E2"/>
      </a:accent3>
      <a:accent4>
        <a:srgbClr val="A7CCED"/>
      </a:accent4>
      <a:accent5>
        <a:srgbClr val="C6DAF2"/>
      </a:accent5>
      <a:accent6>
        <a:srgbClr val="E3F1FC"/>
      </a:accent6>
      <a:hlink>
        <a:srgbClr val="0072EF"/>
      </a:hlink>
      <a:folHlink>
        <a:srgbClr val="000000"/>
      </a:folHlink>
    </a:clrScheme>
    <a:fontScheme name="ZEISS">
      <a:majorFont>
        <a:latin typeface="ZEISS Frutiger Next W1G Heavy"/>
        <a:ea typeface=""/>
        <a:cs typeface=""/>
      </a:majorFont>
      <a:minorFont>
        <a:latin typeface="ZEISS Frutiger Next W1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2F5F8"/>
        </a:solidFill>
        <a:ln>
          <a:noFill/>
        </a:ln>
      </a:spPr>
      <a:bodyPr wrap="square" lIns="180000" tIns="180000" rIns="180000" bIns="180000" rtlCol="0" anchor="t" anchorCtr="0"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8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ZEISS Frutiger Next W1G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8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ZEISS Frutiger Next W1G"/>
            <a:ea typeface="+mn-ea"/>
            <a:cs typeface="+mn-cs"/>
          </a:defRPr>
        </a:defPPr>
      </a:lstStyle>
    </a:txDef>
  </a:objectDefaults>
  <a:extraClrSchemeLst/>
  <a:custClrLst>
    <a:custClr name="ZEISS White">
      <a:srgbClr val="FFFFFF"/>
    </a:custClr>
    <a:custClr name="ZEISS Indigo">
      <a:srgbClr val="0F2DB3"/>
    </a:custClr>
    <a:custClr name="ZEISS Black">
      <a:srgbClr val="000000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ZEISS Black">
      <a:srgbClr val="000000"/>
    </a:custClr>
    <a:custClr name="ZEISS Ultradark Gray">
      <a:srgbClr val="32373E"/>
    </a:custClr>
    <a:custClr name="ZEISS Dark Gray">
      <a:srgbClr val="4E565F"/>
    </a:custClr>
    <a:custClr name="ZEISS Semidark Gray">
      <a:srgbClr val="606A76"/>
    </a:custClr>
    <a:custClr name="ZEISS Medium Gray">
      <a:srgbClr val="778592"/>
    </a:custClr>
    <a:custClr name="ZEISS Semilight Gray">
      <a:srgbClr val="929EAB"/>
    </a:custClr>
    <a:custClr name="ZEISS Light Gray">
      <a:srgbClr val="B4C0CA"/>
    </a:custClr>
    <a:custClr name="ZEISS Ultralight Gray">
      <a:srgbClr val="DCE3E9"/>
    </a:custClr>
    <a:custClr name="ZEISS Semiwhite Gray">
      <a:srgbClr val="F2F5F8"/>
    </a:custClr>
    <a:custClr name="ZEISS White">
      <a:srgbClr val="FFFFFF"/>
    </a:custClr>
    <a:custClr name="ZEISS Purple Red">
      <a:srgbClr val="A70240"/>
    </a:custClr>
    <a:custClr name="ZEISS Bright Orange Neon">
      <a:srgbClr val="E71E1E"/>
    </a:custClr>
    <a:custClr name="ZEISS Orange">
      <a:srgbClr val="EA591B"/>
    </a:custClr>
    <a:custClr name="ZEISS Bright Lemon">
      <a:srgbClr val="FDBB08"/>
    </a:custClr>
    <a:custClr name="ZEISS Light Green">
      <a:srgbClr val="D9E906"/>
    </a:custClr>
    <a:custClr name="ZEISS Green">
      <a:srgbClr val="1E8565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ZEISS-Presentation-Master-EN.potx" id="{BB6B1416-95D9-48F3-8B87-B56F513D0C25}" vid="{BC0C35E4-8F92-4003-B8B7-D61BEC3161B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d4c14f1-5e26-4315-944b-e10ebb29e5be">
      <UserInfo>
        <DisplayName>Lisa Marie Beutel</DisplayName>
        <AccountId>664</AccountId>
        <AccountType/>
      </UserInfo>
      <UserInfo>
        <DisplayName>Leoff, Louisa</DisplayName>
        <AccountId>661</AccountId>
        <AccountType/>
      </UserInfo>
      <UserInfo>
        <DisplayName>Kressirer, Peter</DisplayName>
        <AccountId>659</AccountId>
        <AccountType/>
      </UserInfo>
      <UserInfo>
        <DisplayName>Roder, Thomas</DisplayName>
        <AccountId>660</AccountId>
        <AccountType/>
      </UserInfo>
    </SharedWithUsers>
    <TaxCatchAll xmlns="5d4c14f1-5e26-4315-944b-e10ebb29e5be" xsi:nil="true"/>
    <lcf76f155ced4ddcb4097134ff3c332f xmlns="e1a9e197-d112-4abb-aa0c-4ed035d690a3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7C64748B88E4F4A81E78C320064AA18" ma:contentTypeVersion="16" ma:contentTypeDescription="Ein neues Dokument erstellen." ma:contentTypeScope="" ma:versionID="2b18c1cd7fa6723b1a1b54aa619f69f5">
  <xsd:schema xmlns:xsd="http://www.w3.org/2001/XMLSchema" xmlns:xs="http://www.w3.org/2001/XMLSchema" xmlns:p="http://schemas.microsoft.com/office/2006/metadata/properties" xmlns:ns2="e1a9e197-d112-4abb-aa0c-4ed035d690a3" xmlns:ns3="5d4c14f1-5e26-4315-944b-e10ebb29e5be" targetNamespace="http://schemas.microsoft.com/office/2006/metadata/properties" ma:root="true" ma:fieldsID="82c0cf18199289e490fcf3825ddbf829" ns2:_="" ns3:_="">
    <xsd:import namespace="e1a9e197-d112-4abb-aa0c-4ed035d690a3"/>
    <xsd:import namespace="5d4c14f1-5e26-4315-944b-e10ebb29e5b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a9e197-d112-4abb-aa0c-4ed035d690a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32642d0f-59b0-4eae-9672-1a7b4f35464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4c14f1-5e26-4315-944b-e10ebb29e5b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7631e233-cc27-412b-94e7-6f96b3959a6f}" ma:internalName="TaxCatchAll" ma:showField="CatchAllData" ma:web="5d4c14f1-5e26-4315-944b-e10ebb29e5b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AB29623-CE4D-4D72-84CB-7E7DC0E119A2}">
  <ds:schemaRefs>
    <ds:schemaRef ds:uri="http://schemas.microsoft.com/office/2006/documentManagement/types"/>
    <ds:schemaRef ds:uri="e1a9e197-d112-4abb-aa0c-4ed035d690a3"/>
    <ds:schemaRef ds:uri="http://schemas.microsoft.com/office/infopath/2007/PartnerControls"/>
    <ds:schemaRef ds:uri="http://schemas.microsoft.com/office/2006/metadata/properties"/>
    <ds:schemaRef ds:uri="http://purl.org/dc/terms/"/>
    <ds:schemaRef ds:uri="5d4c14f1-5e26-4315-944b-e10ebb29e5be"/>
    <ds:schemaRef ds:uri="http://purl.org/dc/dcmitype/"/>
    <ds:schemaRef ds:uri="http://purl.org/dc/elements/1.1/"/>
    <ds:schemaRef ds:uri="http://www.w3.org/XML/1998/namespace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40381EDD-8FC9-4E48-9BF5-8052CF43B4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1a9e197-d112-4abb-aa0c-4ed035d690a3"/>
    <ds:schemaRef ds:uri="5d4c14f1-5e26-4315-944b-e10ebb29e5b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FA3349B-2FBF-4342-B6C8-BE663E5E66D8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6d0d7e5-9e1e-4dfe-879d-72365f5b5702}" enabled="1" method="Privileged" siteId="{28042244-bb51-4cd6-8034-7776fa3703e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ZEISS-Presentation-Master-EN</Template>
  <TotalTime>2254</TotalTime>
  <Words>684</Words>
  <Application>Microsoft Office PowerPoint</Application>
  <PresentationFormat>Widescreen</PresentationFormat>
  <Paragraphs>115</Paragraphs>
  <Slides>15</Slides>
  <Notes>0</Notes>
  <HiddenSlides>0</HiddenSlides>
  <MMClips>1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ZEISS Presentation Master</vt:lpstr>
      <vt:lpstr>Is STEM in SEM a Viable Alternative to TEM?</vt:lpstr>
      <vt:lpstr>STEM in SEM: an overview</vt:lpstr>
      <vt:lpstr>STEM in SEM Imaging Versatility</vt:lpstr>
      <vt:lpstr>STEM in SEM Imaging Versatility</vt:lpstr>
      <vt:lpstr>Al 6060 Alloy High Pressure Torsion – deformed Al 6060 Sample courtesy of Kaan Tugcu, University of Sydney</vt:lpstr>
      <vt:lpstr>Nanocrystalline Al alloy</vt:lpstr>
      <vt:lpstr>Erythroblast Cells Microtomed sections on TEM support grid Sample courtesy of Dr. Errin Johnson, Oxford University / University of Sydney</vt:lpstr>
      <vt:lpstr>Erythroblast Cell</vt:lpstr>
      <vt:lpstr>Erythroblast Cell</vt:lpstr>
      <vt:lpstr>BaFe12O19 Nanoparticles  Sample courtesy of Dr. Romanus, TU Ilmenau, Germany </vt:lpstr>
      <vt:lpstr>BaFe12O19 Nanoparticles</vt:lpstr>
      <vt:lpstr>STEM Tomography</vt:lpstr>
      <vt:lpstr>Summary</vt:lpstr>
      <vt:lpstr>PowerPoint Presentation</vt:lpstr>
      <vt:lpstr>Addendum: 4D STEM in SE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EISS Presentations Presentation Master</dc:title>
  <dc:creator>Trimby, Patrick</dc:creator>
  <cp:lastModifiedBy>Trimby, Patrick</cp:lastModifiedBy>
  <cp:revision>6</cp:revision>
  <cp:lastPrinted>2000-01-01T00:00:00Z</cp:lastPrinted>
  <dcterms:created xsi:type="dcterms:W3CDTF">2026-01-20T08:55:54Z</dcterms:created>
  <dcterms:modified xsi:type="dcterms:W3CDTF">2026-04-20T14:2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7001F5E99A314A9B224ED9F234C837</vt:lpwstr>
  </property>
  <property fmtid="{D5CDD505-2E9C-101B-9397-08002B2CF9AE}" pid="3" name="MediaServiceImageTags">
    <vt:lpwstr/>
  </property>
</Properties>
</file>